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4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7045" r:id="rId4"/>
    <p:sldMasterId id="2147485226" r:id="rId5"/>
    <p:sldMasterId id="2147486958" r:id="rId6"/>
    <p:sldMasterId id="2147487248" r:id="rId7"/>
    <p:sldMasterId id="2147483821" r:id="rId8"/>
  </p:sldMasterIdLst>
  <p:notesMasterIdLst>
    <p:notesMasterId r:id="rId13"/>
  </p:notesMasterIdLst>
  <p:sldIdLst>
    <p:sldId id="444" r:id="rId9"/>
    <p:sldId id="447" r:id="rId10"/>
    <p:sldId id="445" r:id="rId11"/>
    <p:sldId id="44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sym Medvied" initials="MM" lastIdx="1" clrIdx="0">
    <p:extLst>
      <p:ext uri="{19B8F6BF-5375-455C-9EA6-DF929625EA0E}">
        <p15:presenceInfo xmlns:p15="http://schemas.microsoft.com/office/powerpoint/2012/main" userId="S::max.medved@seagate.com::03f7a06b-a79b-4ea7-9962-edf9abd0a47d" providerId="AD"/>
      </p:ext>
    </p:extLst>
  </p:cmAuthor>
  <p:cmAuthor id="2" name="Ujjwal Lanjewar" initials="UL" lastIdx="4" clrIdx="1">
    <p:extLst>
      <p:ext uri="{19B8F6BF-5375-455C-9EA6-DF929625EA0E}">
        <p15:presenceInfo xmlns:p15="http://schemas.microsoft.com/office/powerpoint/2012/main" userId="S::ujjwal.lanjewar@seagate.com::a7c04530-e8b4-4fe4-b8a0-dd21022acb40" providerId="AD"/>
      </p:ext>
    </p:extLst>
  </p:cmAuthor>
  <p:cmAuthor id="3" name="Ivan Tishchenko" initials="IT" lastIdx="3" clrIdx="2">
    <p:extLst>
      <p:ext uri="{19B8F6BF-5375-455C-9EA6-DF929625EA0E}">
        <p15:presenceInfo xmlns:p15="http://schemas.microsoft.com/office/powerpoint/2012/main" userId="S::ivan.tishchenko@seagate.com::da109aa0-1b7f-44e3-9334-7dc633c2fd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FFB793"/>
    <a:srgbClr val="FF9966"/>
    <a:srgbClr val="FA7D7D"/>
    <a:srgbClr val="6EBE49"/>
    <a:srgbClr val="ACC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910" autoAdjust="0"/>
    <p:restoredTop sz="94694"/>
  </p:normalViewPr>
  <p:slideViewPr>
    <p:cSldViewPr snapToGrid="0">
      <p:cViewPr varScale="1">
        <p:scale>
          <a:sx n="51" d="100"/>
          <a:sy n="51" d="100"/>
        </p:scale>
        <p:origin x="69" y="5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600E9-16E0-4A9C-8002-237942B9B468}" type="datetimeFigureOut">
              <a:rPr lang="en"/>
              <a:t>12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4E7D6-B666-418D-B581-4DCEB8DC6EF6}" type="slidenum">
              <a:rPr lang="en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11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976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455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213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04E7D6-B666-418D-B581-4DCEB8DC6EF6}" type="slidenum">
              <a:rPr kumimoji="0" lang="e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79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8.jpe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pn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5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1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6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6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0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8043" lvl="1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7063" lvl="2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6083" lvl="3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5105" lvl="4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4126" lvl="5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3146" lvl="6" indent="-40601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2168" lvl="7" indent="-40601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1188" lvl="8" indent="-40601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1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2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2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0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2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6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1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1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6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1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8043" lvl="1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7063" lvl="2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6083" lvl="3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5105" lvl="4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4126" lvl="5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3146" lvl="6" indent="-397555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2168" lvl="7" indent="-397555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1188" lvl="8" indent="-397555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8043" lvl="1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7063" lvl="2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6083" lvl="3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5105" lvl="4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4126" lvl="5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3146" lvl="6" indent="-431390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2168" lvl="7" indent="-431390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1188" lvl="8" indent="-431390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2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lvl="0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8043" lvl="1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7063" lvl="2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6083" lvl="3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5105" lvl="4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4126" lvl="5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3146" lvl="6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2168" lvl="7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1188" lvl="8" indent="-380638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6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349" tIns="91349" rIns="91349" bIns="9134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31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7"/>
            <a:ext cx="4965200" cy="3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0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3"/>
            <a:ext cx="6756000" cy="68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0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5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5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5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5821" lvl="1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3730" lvl="2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1639" lvl="3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39551" lvl="4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47460" lvl="5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5371" lvl="6" indent="-405275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3280" lvl="7" indent="-405275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1189" lvl="8" indent="-405275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0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5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0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59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5"/>
            <a:ext cx="12186800" cy="34808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0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5"/>
            <a:ext cx="1681200" cy="18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1"/>
            <a:ext cx="3562800" cy="326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1"/>
            <a:ext cx="3562800" cy="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1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1"/>
            <a:ext cx="634800" cy="634400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59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7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1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700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7"/>
            <a:ext cx="3184000" cy="30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7"/>
            <a:ext cx="3184000" cy="3044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7"/>
            <a:ext cx="3184000" cy="30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5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7"/>
            <a:ext cx="7427200" cy="4261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7"/>
            <a:ext cx="4768000" cy="4261200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1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0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5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2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0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5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0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0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9170" lvl="1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8754" lvl="2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8339" lvl="3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7924" lvl="4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7509" lvl="5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67093" lvl="6" indent="-397923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76678" lvl="7" indent="-397923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86263" lvl="8" indent="-397923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5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5"/>
            <a:ext cx="11193600" cy="44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9170" lvl="1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8754" lvl="2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7924" lvl="4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7509" lvl="5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67093" lvl="6" indent="-431789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86263" lvl="8" indent="-431789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1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9170" lvl="1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8754" lvl="2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8339" lvl="3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7924" lvl="4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7509" lvl="5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67093" lvl="6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76678" lvl="7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86263" lvl="8" indent="-380990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1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5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5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5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5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3"/>
            <a:ext cx="3581200" cy="13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3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05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68575" tIns="68575" rIns="68575" bIns="6857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00"/>
            </a:lvl9pPr>
          </a:lstStyle>
          <a:p>
            <a:endParaRPr/>
          </a:p>
        </p:txBody>
      </p:sp>
      <p:sp>
        <p:nvSpPr>
          <p:cNvPr id="976" name="Google Shape;976;p105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00"/>
            </a:lvl9pPr>
          </a:lstStyle>
          <a:p>
            <a:endParaRPr/>
          </a:p>
        </p:txBody>
      </p:sp>
      <p:sp>
        <p:nvSpPr>
          <p:cNvPr id="977" name="Google Shape;977;p10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4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5821" lvl="1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3730" lvl="2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40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lnSpc>
                <a:spcPct val="100000"/>
              </a:lnSpc>
              <a:spcBef>
                <a:spcPts val="1596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05275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6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5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marR="0" lvl="0" indent="-42216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2216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2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6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lvl="0" indent="-472818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5821" lvl="1" indent="-45593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3730" lvl="2" indent="-439047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1639" lvl="3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39551" lvl="4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47460" lvl="5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5371" lvl="6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3280" lvl="7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1189" lvl="8" indent="-42216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5855" marR="0" lvl="1" indent="-2258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4745" marR="0" lvl="2" indent="-1958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120" marR="0" lvl="3" indent="-19250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29493" marR="0" lvl="4" indent="-18912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3504" marR="0" lvl="5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1415" marR="0" lvl="6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59325" marR="0" lvl="7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67235" marR="0" lvl="8" indent="-30395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14" tIns="45606" rIns="91214" bIns="4560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3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2216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7912" marR="0" lvl="0" indent="-303955" algn="l" rtl="0">
              <a:spcBef>
                <a:spcPts val="1596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5821" marR="0" lvl="1" indent="-439047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3730" marR="0" lvl="2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1639" marR="0" lvl="3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39551" marR="0" lvl="4" indent="-42216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47460" marR="0" lvl="5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5371" marR="0" lvl="6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3280" marR="0" lvl="7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1189" marR="0" lvl="8" indent="-47281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7912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5821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3730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16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16" lvl="1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373" lvl="2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5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7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056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marR="0" lvl="0" indent="-422539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22539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lvl="0" indent="-47324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16" lvl="1" indent="-456344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373" lvl="2" indent="-439442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29" lvl="3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289" lvl="4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747" lvl="5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203" lvl="6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661" lvl="7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118" lvl="8" indent="-42253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5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59" marR="0" lvl="1" indent="-22605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74" marR="0" lvl="2" indent="-19606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12" marR="0" lvl="3" indent="-19267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51" marR="0" lvl="4" indent="-18929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516" marR="0" lvl="5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4974" marR="0" lvl="6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434" marR="0" lvl="7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1890" marR="0" lvl="8" indent="-304229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7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22539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58" marR="0" lvl="0" indent="-304229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16" marR="0" lvl="1" indent="-439442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373" marR="0" lvl="2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29" marR="0" lvl="3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289" marR="0" lvl="4" indent="-422539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747" marR="0" lvl="5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203" marR="0" lvl="6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661" marR="0" lvl="7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118" marR="0" lvl="8" indent="-47324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3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58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16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37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2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58" lvl="0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16" lvl="1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373" lvl="2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29" lvl="3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289" lvl="4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747" lvl="5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203" lvl="6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661" lvl="7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118" lvl="8" indent="-304229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7912" lvl="0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5821" lvl="1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3730" lvl="2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1639" lvl="3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39551" lvl="4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47460" lvl="5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5371" lvl="6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3280" lvl="7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1189" lvl="8" indent="-303955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3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6947" lvl="1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5419" lvl="2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90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9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lnSpc>
                <a:spcPct val="100000"/>
              </a:lnSpc>
              <a:spcBef>
                <a:spcPts val="1597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056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5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4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marR="0" lvl="0" indent="-422550" algn="l" rtl="0">
              <a:lnSpc>
                <a:spcPct val="100000"/>
              </a:lnSpc>
              <a:spcBef>
                <a:spcPts val="79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22550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401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4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5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lvl="0" indent="-473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6947" lvl="1" indent="-456355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5419" lvl="2" indent="-43945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3891" lvl="3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2365" lvl="4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0837" lvl="5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59310" lvl="6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67782" lvl="7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76255" lvl="8" indent="-42255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064" marR="0" lvl="1" indent="-22606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083" marR="0" lvl="2" indent="-19606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7626" marR="0" lvl="3" indent="-19268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168" marR="0" lvl="4" indent="-18930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6600" marR="0" lvl="5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5073" marR="0" lvl="6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3547" marR="0" lvl="7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2019" marR="0" lvl="8" indent="-30423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98" tIns="45648" rIns="91298" bIns="4564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4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22550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8474" marR="0" lvl="0" indent="-304236" algn="l" rtl="0">
              <a:spcBef>
                <a:spcPts val="1597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6947" marR="0" lvl="1" indent="-439453" algn="l" rtl="0">
              <a:spcBef>
                <a:spcPts val="798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5419" marR="0" lvl="2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3891" marR="0" lvl="3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2365" marR="0" lvl="4" indent="-422550" algn="l" rtl="0">
              <a:spcBef>
                <a:spcPts val="798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0837" marR="0" lvl="5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59310" marR="0" lvl="6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67782" marR="0" lvl="7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76255" marR="0" lvl="8" indent="-47325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8474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6947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5419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3891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8474" lvl="0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6947" lvl="1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5419" lvl="2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3891" lvl="3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2365" lvl="4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0837" lvl="5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59310" lvl="6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67782" lvl="7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76255" lvl="8" indent="-304236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799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1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021" lvl="0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8043" lvl="1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7063" lvl="2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4"/>
            <a:ext cx="1185200" cy="29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6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8"/>
            <a:ext cx="11364400" cy="46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1599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06015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4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2">
  <p:cSld name="Title/Subtitle and Content_2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9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999" name="Google Shape;999;p109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9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01" name="Google Shape;1001;p10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2" name="Google Shape;1002;p10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3" name="Google Shape;1003;p10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2"/>
            <a:ext cx="10223600" cy="45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021" marR="0" lvl="0" indent="-422931" algn="l" rtl="0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22931" algn="l" rtl="0">
              <a:lnSpc>
                <a:spcPct val="100000"/>
              </a:lnSpc>
              <a:spcBef>
                <a:spcPts val="666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4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lvl="0" indent="-47368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8043" lvl="1" indent="-45676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7063" lvl="2" indent="-43984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6083" lvl="3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5105" lvl="4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4126" lvl="5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3146" lvl="6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2168" lvl="7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1188" lvl="8" indent="-42293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4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268" marR="0" lvl="1" indent="-22626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412" marR="0" lvl="2" indent="-19624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119" marR="0" lvl="3" indent="-19285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0826" marR="0" lvl="4" indent="-18947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49615" marR="0" lvl="5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58636" marR="0" lvl="6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67658" marR="0" lvl="7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76678" marR="0" lvl="8" indent="-30451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82" tIns="45691" rIns="91382" bIns="45691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5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6"/>
            <a:ext cx="731600" cy="52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3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22931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021" marR="0" lvl="0" indent="-304510" algn="l" rtl="0">
              <a:spcBef>
                <a:spcPts val="1599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043" marR="0" lvl="1" indent="-439849" algn="l" rtl="0">
              <a:spcBef>
                <a:spcPts val="799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7063" marR="0" lvl="2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6083" marR="0" lvl="3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5105" marR="0" lvl="4" indent="-422931" algn="l" rtl="0">
              <a:spcBef>
                <a:spcPts val="799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4126" marR="0" lvl="5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3146" marR="0" lvl="6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2168" marR="0" lvl="7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1188" marR="0" lvl="8" indent="-47368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2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021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8043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7063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6083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021" lvl="0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8043" lvl="1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7063" lvl="2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6083" lvl="3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5105" lvl="4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4126" lvl="5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3146" lvl="6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2168" lvl="7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1188" lvl="8" indent="-304510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06"/>
          <p:cNvSpPr txBox="1">
            <a:spLocks noGrp="1"/>
          </p:cNvSpPr>
          <p:nvPr>
            <p:ph type="title"/>
          </p:nvPr>
        </p:nvSpPr>
        <p:spPr>
          <a:xfrm>
            <a:off x="101600" y="0"/>
            <a:ext cx="12090400" cy="524800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/>
            </a:lvl9pPr>
          </a:lstStyle>
          <a:p>
            <a:endParaRPr/>
          </a:p>
        </p:txBody>
      </p:sp>
      <p:sp>
        <p:nvSpPr>
          <p:cNvPr id="980" name="Google Shape;980;p106"/>
          <p:cNvSpPr txBox="1">
            <a:spLocks noGrp="1"/>
          </p:cNvSpPr>
          <p:nvPr>
            <p:ph type="body" idx="1"/>
          </p:nvPr>
        </p:nvSpPr>
        <p:spPr>
          <a:xfrm>
            <a:off x="101600" y="763600"/>
            <a:ext cx="12090400" cy="56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81" name="Google Shape;981;p10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82" name="Google Shape;982;p10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3" name="Google Shape;983;p106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1">
  <p:cSld name="Cover Green_1"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p107"/>
          <p:cNvSpPr txBox="1"/>
          <p:nvPr/>
        </p:nvSpPr>
        <p:spPr>
          <a:xfrm>
            <a:off x="10428323" y="6446783"/>
            <a:ext cx="1185200" cy="2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/30/2018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6" name="Google Shape;986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80752" cy="686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987" name="Google Shape;987;p1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9"/>
            <a:ext cx="2131291" cy="712167"/>
          </a:xfrm>
          <a:prstGeom prst="rect">
            <a:avLst/>
          </a:prstGeom>
          <a:noFill/>
          <a:ln>
            <a:noFill/>
          </a:ln>
        </p:spPr>
      </p:pic>
      <p:sp>
        <p:nvSpPr>
          <p:cNvPr id="988" name="Google Shape;988;p107"/>
          <p:cNvSpPr txBox="1"/>
          <p:nvPr/>
        </p:nvSpPr>
        <p:spPr>
          <a:xfrm>
            <a:off x="478971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Arial"/>
              <a:buNone/>
            </a:pPr>
            <a:r>
              <a:rPr lang="en" sz="1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’S POTENTIAL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7"/>
          <p:cNvSpPr txBox="1">
            <a:spLocks noGrp="1"/>
          </p:cNvSpPr>
          <p:nvPr>
            <p:ph type="body" idx="1"/>
          </p:nvPr>
        </p:nvSpPr>
        <p:spPr>
          <a:xfrm>
            <a:off x="515087" y="2810845"/>
            <a:ext cx="11364400" cy="10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Arial"/>
              <a:buNone/>
              <a:defRPr sz="63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0" name="Google Shape;990;p107"/>
          <p:cNvSpPr txBox="1">
            <a:spLocks noGrp="1"/>
          </p:cNvSpPr>
          <p:nvPr>
            <p:ph type="body" idx="2"/>
          </p:nvPr>
        </p:nvSpPr>
        <p:spPr>
          <a:xfrm>
            <a:off x="515087" y="3934237"/>
            <a:ext cx="11364400" cy="4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2000"/>
              <a:buFont typeface="Arial"/>
              <a:buNone/>
              <a:defRPr sz="27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">
  <p:cSld name="Title/Subtitle and Content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08"/>
          <p:cNvSpPr txBox="1">
            <a:spLocks noGrp="1"/>
          </p:cNvSpPr>
          <p:nvPr>
            <p:ph type="body" idx="1"/>
          </p:nvPr>
        </p:nvSpPr>
        <p:spPr>
          <a:xfrm>
            <a:off x="527000" y="1007803"/>
            <a:ext cx="11138000" cy="53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Lato"/>
              <a:buChar char="●"/>
              <a:defRPr sz="2700">
                <a:latin typeface="Lato"/>
                <a:ea typeface="Lato"/>
                <a:cs typeface="Lato"/>
                <a:sym typeface="La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Lato"/>
              <a:buChar char="○"/>
              <a:defRPr sz="2400">
                <a:latin typeface="Lato"/>
                <a:ea typeface="Lato"/>
                <a:cs typeface="Lato"/>
                <a:sym typeface="La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Lato"/>
              <a:buChar char="■"/>
              <a:defRPr sz="2100">
                <a:latin typeface="Lato"/>
                <a:ea typeface="Lato"/>
                <a:cs typeface="Lato"/>
                <a:sym typeface="Lato"/>
              </a:defRPr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●"/>
              <a:defRPr>
                <a:latin typeface="Lato"/>
                <a:ea typeface="Lato"/>
                <a:cs typeface="Lato"/>
                <a:sym typeface="Lato"/>
              </a:defRPr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○"/>
              <a:defRPr>
                <a:latin typeface="Lato"/>
                <a:ea typeface="Lato"/>
                <a:cs typeface="Lato"/>
                <a:sym typeface="Lato"/>
              </a:defRPr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Lato"/>
              <a:buChar char="■"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993" name="Google Shape;993;p108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5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994" name="Google Shape;994;p10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95" name="Google Shape;995;p10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6" name="Google Shape;996;p108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10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" name="Google Shape;1005;p110"/>
          <p:cNvSpPr txBox="1">
            <a:spLocks noGrp="1"/>
          </p:cNvSpPr>
          <p:nvPr>
            <p:ph type="body" idx="1"/>
          </p:nvPr>
        </p:nvSpPr>
        <p:spPr>
          <a:xfrm>
            <a:off x="1358900" y="1462091"/>
            <a:ext cx="102236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marR="0" lvl="0" indent="-423323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03865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06" name="Google Shape;1006;p11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7" name="Google Shape;1007;p11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8" name="Google Shape;1008;p110"/>
          <p:cNvSpPr txBox="1">
            <a:spLocks noGrp="1"/>
          </p:cNvSpPr>
          <p:nvPr>
            <p:ph type="title"/>
          </p:nvPr>
        </p:nvSpPr>
        <p:spPr>
          <a:xfrm>
            <a:off x="84633" y="37399"/>
            <a:ext cx="11804000" cy="6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None/>
              <a:defRPr sz="3200" b="1"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9" name="Google Shape;1009;p110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1">
  <p:cSld name="Title/Subtitle and Content_1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700" b="1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14" name="Google Shape;1014;p11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5" name="Google Shape;1015;p11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6" name="Google Shape;1016;p111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3">
  <p:cSld name="Title/Subtitle and Content_3">
    <p:spTree>
      <p:nvGrpSpPr>
        <p:cNvPr id="1" name="Shape 10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" name="Google Shape;1018;p112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19" name="Google Shape;1019;p112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0" name="Google Shape;1020;p112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/Subtitle and Content 4">
  <p:cSld name="Title/Subtitle and Content_4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13"/>
          <p:cNvSpPr txBox="1">
            <a:spLocks noGrp="1"/>
          </p:cNvSpPr>
          <p:nvPr>
            <p:ph type="body" idx="1"/>
          </p:nvPr>
        </p:nvSpPr>
        <p:spPr>
          <a:xfrm>
            <a:off x="527000" y="1502513"/>
            <a:ext cx="11138000" cy="4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74121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2000"/>
              <a:buFont typeface="Arial"/>
              <a:buChar char="●"/>
              <a:defRPr sz="2700"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800"/>
              <a:buFont typeface="Arial"/>
              <a:buChar char="○"/>
              <a:defRPr sz="2400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600"/>
              <a:buFont typeface="Arial"/>
              <a:buChar char="■"/>
              <a:defRPr sz="2100"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Char char="■"/>
              <a:defRPr/>
            </a:lvl9pPr>
          </a:lstStyle>
          <a:p>
            <a:endParaRPr/>
          </a:p>
        </p:txBody>
      </p:sp>
      <p:sp>
        <p:nvSpPr>
          <p:cNvPr id="1023" name="Google Shape;1023;p113"/>
          <p:cNvSpPr txBox="1">
            <a:spLocks noGrp="1"/>
          </p:cNvSpPr>
          <p:nvPr>
            <p:ph type="title"/>
          </p:nvPr>
        </p:nvSpPr>
        <p:spPr>
          <a:xfrm>
            <a:off x="84633" y="138901"/>
            <a:ext cx="11804000" cy="7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Arial"/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4" name="Google Shape;1024;p113"/>
          <p:cNvSpPr txBox="1">
            <a:spLocks noGrp="1"/>
          </p:cNvSpPr>
          <p:nvPr>
            <p:ph type="subTitle" idx="2"/>
          </p:nvPr>
        </p:nvSpPr>
        <p:spPr>
          <a:xfrm>
            <a:off x="253867" y="777793"/>
            <a:ext cx="11634800" cy="5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rgbClr val="0063A7"/>
              </a:buClr>
              <a:buSzPts val="1400"/>
              <a:buFont typeface="Arial"/>
              <a:buNone/>
              <a:defRPr>
                <a:solidFill>
                  <a:srgbClr val="0063A7"/>
                </a:solidFill>
              </a:defRPr>
            </a:lvl1pPr>
            <a:lvl2pPr marL="226477" marR="0" lvl="1" indent="-22647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ymbol"/>
              <a:buNone/>
              <a:defRPr/>
            </a:lvl2pPr>
            <a:lvl3pPr marL="365751" marR="0" lvl="2" indent="-19642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3pPr>
            <a:lvl4pPr marL="548626" marR="0" lvl="3" indent="-19303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4pPr>
            <a:lvl5pPr marL="731502" marR="0" lvl="4" indent="-189649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None/>
              <a:defRPr/>
            </a:lvl5pPr>
            <a:lvl6pPr marL="3352716" marR="0" lvl="5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marL="3962301" marR="0" lvl="6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marL="4571886" marR="0" lvl="7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marL="5181470" marR="0" lvl="8" indent="-30479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pic>
        <p:nvPicPr>
          <p:cNvPr id="1025" name="Google Shape;1025;p11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6" name="Google Shape;1026;p11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7" name="Google Shape;1027;p113"/>
          <p:cNvSpPr txBox="1"/>
          <p:nvPr/>
        </p:nvSpPr>
        <p:spPr>
          <a:xfrm>
            <a:off x="10131213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67" tIns="45733" rIns="91467" bIns="457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 2">
  <p:cSld name="Cover Green_2">
    <p:spTree>
      <p:nvGrpSpPr>
        <p:cNvPr id="1" name="Shape 10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Google Shape;1029;p114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0" name="Google Shape;1030;p1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77580" cy="686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4" y="6019089"/>
            <a:ext cx="2130733" cy="711983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441440" y="3862500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3" name="Google Shape;1033;p11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6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4" name="Google Shape;1034;p114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>
                <a:solidFill>
                  <a:srgbClr val="000000"/>
                </a:solidFill>
              </a:defRPr>
            </a:lvl1pPr>
            <a:lvl2pPr lvl="1" rtl="0">
              <a:buNone/>
              <a:defRPr>
                <a:solidFill>
                  <a:srgbClr val="000000"/>
                </a:solidFill>
              </a:defRPr>
            </a:lvl2pPr>
            <a:lvl3pPr lvl="2" rtl="0">
              <a:buNone/>
              <a:defRPr>
                <a:solidFill>
                  <a:srgbClr val="000000"/>
                </a:solidFill>
              </a:defRPr>
            </a:lvl3pPr>
            <a:lvl4pPr lvl="3" rtl="0">
              <a:buNone/>
              <a:defRPr>
                <a:solidFill>
                  <a:srgbClr val="000000"/>
                </a:solidFill>
              </a:defRPr>
            </a:lvl4pPr>
            <a:lvl5pPr lvl="4" rtl="0">
              <a:buNone/>
              <a:defRPr>
                <a:solidFill>
                  <a:srgbClr val="000000"/>
                </a:solidFill>
              </a:defRPr>
            </a:lvl5pPr>
            <a:lvl6pPr lvl="5" rtl="0">
              <a:buNone/>
              <a:defRPr>
                <a:solidFill>
                  <a:srgbClr val="000000"/>
                </a:solidFill>
              </a:defRPr>
            </a:lvl6pPr>
            <a:lvl7pPr lvl="6" rtl="0">
              <a:buNone/>
              <a:defRPr>
                <a:solidFill>
                  <a:srgbClr val="000000"/>
                </a:solidFill>
              </a:defRPr>
            </a:lvl7pPr>
            <a:lvl8pPr lvl="7" rtl="0">
              <a:buNone/>
              <a:defRPr>
                <a:solidFill>
                  <a:srgbClr val="000000"/>
                </a:solidFill>
              </a:defRPr>
            </a:lvl8pPr>
            <a:lvl9pPr lvl="8" rtl="0">
              <a:buNone/>
              <a:defRPr>
                <a:solidFill>
                  <a:srgbClr val="000000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">
  <p:cSld name="2-Column">
    <p:spTree>
      <p:nvGrpSpPr>
        <p:cNvPr id="1" name="Shape 1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Google Shape;1036;p115"/>
          <p:cNvSpPr txBox="1"/>
          <p:nvPr/>
        </p:nvSpPr>
        <p:spPr>
          <a:xfrm>
            <a:off x="10287003" y="6572532"/>
            <a:ext cx="1282800" cy="1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</a:pPr>
            <a:fld id="{00000000-1234-1234-1234-123412341234}" type="slidenum">
              <a:rPr lang="en" sz="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15"/>
          <p:cNvSpPr txBox="1">
            <a:spLocks noGrp="1"/>
          </p:cNvSpPr>
          <p:nvPr>
            <p:ph type="body" idx="1"/>
          </p:nvPr>
        </p:nvSpPr>
        <p:spPr>
          <a:xfrm>
            <a:off x="6228523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8" name="Google Shape;1038;p115"/>
          <p:cNvSpPr txBox="1">
            <a:spLocks noGrp="1"/>
          </p:cNvSpPr>
          <p:nvPr>
            <p:ph type="body" idx="2"/>
          </p:nvPr>
        </p:nvSpPr>
        <p:spPr>
          <a:xfrm>
            <a:off x="609601" y="1968800"/>
            <a:ext cx="5328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spcBef>
                <a:spcPts val="373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9" name="Google Shape;1039;p115"/>
          <p:cNvSpPr txBox="1">
            <a:spLocks noGrp="1"/>
          </p:cNvSpPr>
          <p:nvPr>
            <p:ph type="body" idx="3"/>
          </p:nvPr>
        </p:nvSpPr>
        <p:spPr>
          <a:xfrm>
            <a:off x="609600" y="1170411"/>
            <a:ext cx="9753600" cy="3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marR="0" lvl="0" indent="-304792" algn="l" rtl="0">
              <a:spcBef>
                <a:spcPts val="1600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40256" algn="l" rtl="0"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0" name="Google Shape;1040;p115"/>
          <p:cNvSpPr txBox="1">
            <a:spLocks noGrp="1"/>
          </p:cNvSpPr>
          <p:nvPr>
            <p:ph type="title"/>
          </p:nvPr>
        </p:nvSpPr>
        <p:spPr>
          <a:xfrm>
            <a:off x="619363" y="1"/>
            <a:ext cx="9744000" cy="10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32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9585" marR="0" lvl="5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19170" marR="0" lvl="6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28754" marR="0" lvl="7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438339" marR="0" lvl="8" indent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16"/>
          <p:cNvSpPr txBox="1">
            <a:spLocks noGrp="1"/>
          </p:cNvSpPr>
          <p:nvPr>
            <p:ph type="title"/>
          </p:nvPr>
        </p:nvSpPr>
        <p:spPr>
          <a:xfrm>
            <a:off x="963084" y="4406900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5300" b="1" cap="small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1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700"/>
            </a:lvl1pPr>
            <a:lvl2pPr marL="1219170" lvl="1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400"/>
            </a:lvl2pPr>
            <a:lvl3pPr marL="1828754" lvl="2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2100"/>
            </a:lvl3pPr>
            <a:lvl4pPr marL="2438339" lvl="3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4pPr>
            <a:lvl5pPr marL="3047924" lvl="4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5pPr>
            <a:lvl6pPr marL="3657509" lvl="5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6pPr>
            <a:lvl7pPr marL="4267093" lvl="6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7pPr>
            <a:lvl8pPr marL="4876678" lvl="7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8pPr>
            <a:lvl9pPr marL="5486263" lvl="8" indent="-304792" rtl="0">
              <a:spcBef>
                <a:spcPts val="0"/>
              </a:spcBef>
              <a:spcAft>
                <a:spcPts val="0"/>
              </a:spcAft>
              <a:buSzPts val="1400"/>
              <a:buFont typeface="Times New Roman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4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68727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59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 lIns="182880" tIns="27432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27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 lIns="182880" tIns="18288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599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Clr>
                <a:schemeClr val="bg1"/>
              </a:buClr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1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8700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65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7672388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946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74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59556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323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69628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2469951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3288863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393486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2470150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7394067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615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114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3460735985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206" y="1397344"/>
            <a:ext cx="3573462" cy="1853537"/>
          </a:xfrm>
          <a:prstGeom prst="rect">
            <a:avLst/>
          </a:prstGeom>
        </p:spPr>
        <p:txBody>
          <a:bodyPr/>
          <a:lstStyle>
            <a:lvl1pPr>
              <a:defRPr sz="12500"/>
            </a:lvl1pPr>
          </a:lstStyle>
          <a:p>
            <a:pPr lvl="0"/>
            <a:r>
              <a:rPr lang="en-US"/>
              <a:t>65%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35206" y="3283155"/>
            <a:ext cx="5283928" cy="1001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 Description</a:t>
            </a:r>
          </a:p>
        </p:txBody>
      </p:sp>
    </p:spTree>
    <p:extLst>
      <p:ext uri="{BB962C8B-B14F-4D97-AF65-F5344CB8AC3E}">
        <p14:creationId xmlns:p14="http://schemas.microsoft.com/office/powerpoint/2010/main" val="400713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62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6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56766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2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5629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36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033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4215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1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1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6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2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98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5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85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8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5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5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729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7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42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22064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2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2601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42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30604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1075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2745536"/>
      </p:ext>
    </p:extLst>
  </p:cSld>
  <p:clrMapOvr>
    <a:masterClrMapping/>
  </p:clrMapOvr>
  <p:transition spd="med">
    <p:fade thruBlk="1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23061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75676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86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  <a:prstGeom prst="rect">
            <a:avLst/>
          </a:prstGeo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18163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29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090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42216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5821" lvl="1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3730" lvl="2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1639" lvl="3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39551" lvl="4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47460" lvl="5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5371" lvl="6" indent="-396829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3280" lvl="7" indent="-396829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1189" lvl="8" indent="-396829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750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760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84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1624959"/>
      </p:ext>
    </p:extLst>
  </p:cSld>
  <p:clrMapOvr>
    <a:masterClrMapping/>
  </p:clrMapOvr>
  <p:transition spd="med">
    <p:fade thruBlk="1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84160172"/>
      </p:ext>
    </p:extLst>
  </p:cSld>
  <p:clrMapOvr>
    <a:masterClrMapping/>
  </p:clrMapOvr>
  <p:transition spd="med">
    <p:fade thruBlk="1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093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48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7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2888317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8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7906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26837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88465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36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9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4865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13512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72159" y="1739141"/>
            <a:ext cx="345550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255" indent="-285750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1" y="371341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291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99647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01043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02439" y="1739141"/>
            <a:ext cx="2672042" cy="453231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200"/>
            </a:lvl1pPr>
            <a:lvl2pPr marL="829255" indent="-285750" algn="l"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1372759" indent="-285750" algn="l">
              <a:buFont typeface="Wingdings" pitchFamily="2" charset="2"/>
              <a:buChar char="§"/>
              <a:defRPr sz="1200">
                <a:latin typeface="+mn-lt"/>
              </a:defRPr>
            </a:lvl3pPr>
            <a:lvl4pPr marL="1916267" indent="-285750" algn="l">
              <a:buClr>
                <a:schemeClr val="bg2"/>
              </a:buClr>
              <a:buFont typeface="Wingdings" pitchFamily="2" charset="2"/>
              <a:buChar char="ü"/>
              <a:defRPr sz="12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387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6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>
            <a:lvl1pPr algn="ctr">
              <a:defRPr sz="1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6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4726" y="2318789"/>
            <a:ext cx="3732213" cy="22204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50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72338" y="0"/>
            <a:ext cx="4247323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219661" y="0"/>
            <a:ext cx="3972339" cy="35630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4094921" y="4138640"/>
            <a:ext cx="3972339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4089951" y="4138640"/>
            <a:ext cx="3187147" cy="56675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3996529" y="4853528"/>
            <a:ext cx="3373992" cy="5379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450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8462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923" y="3950336"/>
            <a:ext cx="3754988" cy="601662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450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6888" y="4851194"/>
            <a:ext cx="375443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374" y="4851194"/>
            <a:ext cx="3754988" cy="92868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3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7912" lvl="0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5821" lvl="1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3730" lvl="2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1639" lvl="3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39551" lvl="4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47460" lvl="5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5371" lvl="6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3280" lvl="7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1189" lvl="8" indent="-379944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4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96140"/>
            <a:ext cx="10515600" cy="762174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11287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864" y="0"/>
            <a:ext cx="5545136" cy="6858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98995"/>
            <a:ext cx="4588565" cy="132556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43735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1999" cy="378420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1799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1881052" y="4901204"/>
            <a:ext cx="2360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1544596" y="5156293"/>
            <a:ext cx="206540" cy="2065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21359" y="4609399"/>
            <a:ext cx="5776294" cy="1093787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0870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0770" y="-8"/>
            <a:ext cx="6091231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8"/>
            <a:ext cx="6100769" cy="330041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799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792" y="3412926"/>
            <a:ext cx="3425254" cy="3813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1625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127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9811" y="4231838"/>
            <a:ext cx="1689100" cy="449262"/>
          </a:xfrm>
          <a:prstGeom prst="rect">
            <a:avLst/>
          </a:prstGeom>
        </p:spPr>
        <p:txBody>
          <a:bodyPr anchor="ctr"/>
          <a:lstStyle>
            <a:lvl1pPr algn="ctr">
              <a:defRPr sz="2400" b="1">
                <a:solidFill>
                  <a:schemeClr val="bg2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54832" y="4877844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421563" y="3413125"/>
            <a:ext cx="3425825" cy="381176"/>
          </a:xfrm>
          <a:prstGeom prst="rect">
            <a:avLst/>
          </a:prstGeom>
        </p:spPr>
        <p:txBody>
          <a:bodyPr anchor="ctr"/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3915700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896410" cy="3428996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3916287" y="3428997"/>
            <a:ext cx="3956706" cy="342097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7892125" y="-1935"/>
            <a:ext cx="4299876" cy="3428996"/>
          </a:xfrm>
          <a:prstGeom prst="rect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5820194" y="93653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0090" y="133099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5111" y="190755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1917428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7324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2345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10057575" y="3951404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471" y="4345869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492" y="4922425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2854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2162594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2490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511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2162594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392490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477511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10084081" y="548908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9313977" y="943373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8398998" y="1519929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10084081" y="4126995"/>
            <a:ext cx="148893" cy="1488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9313977" y="4521460"/>
            <a:ext cx="1689100" cy="44926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16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16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16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98998" y="5098016"/>
            <a:ext cx="3368675" cy="109378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4239374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6107573" y="-14258"/>
            <a:ext cx="1847199" cy="346357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4238640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6107573" y="3471545"/>
            <a:ext cx="1847199" cy="342431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1" y="-12699"/>
            <a:ext cx="6096004" cy="230028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7236238" y="711201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36238" y="2997200"/>
            <a:ext cx="3973591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0" y="2301877"/>
            <a:ext cx="6096001" cy="225742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1" y="4575776"/>
            <a:ext cx="6096004" cy="2285999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236238" y="5372653"/>
            <a:ext cx="4193843" cy="8554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2400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614678558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671496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3384041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6095417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8807963" y="1682521"/>
            <a:ext cx="2712543" cy="2712544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672910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3385455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6096831" y="1673179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8809376" y="1694695"/>
            <a:ext cx="2709714" cy="2709713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129263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545428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4005177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3257973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6716553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5969349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9429099" y="2814444"/>
            <a:ext cx="1470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8681895" y="4823643"/>
            <a:ext cx="2837195" cy="7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000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0452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6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10633"/>
            <a:ext cx="10515600" cy="743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7783577" y="2864690"/>
            <a:ext cx="603504" cy="603504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902282" y="1"/>
            <a:ext cx="1" cy="3331493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3976284" y="0"/>
            <a:ext cx="1730418" cy="307817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4624493" y="0"/>
            <a:ext cx="888493" cy="2118896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6096001" y="0"/>
            <a:ext cx="1732281" cy="307817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6291580" y="0"/>
            <a:ext cx="888493" cy="2118896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8772198" y="3431598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1803142" y="3425802"/>
            <a:ext cx="1229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8488156" y="1557479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2196639" y="1674093"/>
            <a:ext cx="12298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5275448" y="4337306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4003289" y="1874208"/>
            <a:ext cx="603504" cy="603504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7180073" y="1874208"/>
            <a:ext cx="603504" cy="603504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3359644" y="2866213"/>
            <a:ext cx="603504" cy="603504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16351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5600861" y="3360678"/>
            <a:ext cx="603504" cy="603504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477764"/>
              <a:ext cx="603504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39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3439920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2952069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1052279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1003494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966014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6981359" y="4380745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6493508" y="4923768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166920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118134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8752079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8264228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5210640" y="3285356"/>
            <a:ext cx="0" cy="372284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4722789" y="2120271"/>
            <a:ext cx="975702" cy="992843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91416" rIns="0" bIns="0" rtlCol="0" anchor="ctr"/>
          <a:lstStyle/>
          <a:p>
            <a:pPr algn="ctr"/>
            <a:endParaRPr lang="id-ID" sz="3199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229204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5833488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9374927" y="2447919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823734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4695905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1154466" y="5256624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6784882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3243443" y="5089252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1472723" y="2260004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5014163" y="2272880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8529851" y="2285755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10326322" y="5102128"/>
            <a:ext cx="392954" cy="584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199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7889420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6118700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434798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2577261" y="3807630"/>
            <a:ext cx="1725320" cy="424631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806541" y="3807630"/>
            <a:ext cx="1725320" cy="424631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16"/>
            <a:ext cx="10515600" cy="7307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31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181" tIns="91181" rIns="91181" bIns="91181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8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6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73902" y="-35627"/>
            <a:ext cx="3931920" cy="6941127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2259275" y="-35626"/>
            <a:ext cx="3867365" cy="69266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4562010" y="-35626"/>
            <a:ext cx="3867365" cy="69411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292897" y="5025740"/>
            <a:ext cx="4352743" cy="76144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126299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2158164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4261517" y="-35626"/>
            <a:ext cx="3577624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6376560" y="-35626"/>
            <a:ext cx="3506071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8458120" y="-35626"/>
            <a:ext cx="3779794" cy="69405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71253" y="-35626"/>
            <a:ext cx="3693712" cy="6947065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199"/>
          </a:p>
        </p:txBody>
      </p:sp>
    </p:spTree>
    <p:extLst>
      <p:ext uri="{BB962C8B-B14F-4D97-AF65-F5344CB8AC3E}">
        <p14:creationId xmlns:p14="http://schemas.microsoft.com/office/powerpoint/2010/main" val="306054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8376422" y="118368"/>
            <a:ext cx="3674481" cy="661024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6349241" y="118370"/>
            <a:ext cx="3463490" cy="6610249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113723" y="132115"/>
            <a:ext cx="3640581" cy="661853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2323421" y="130750"/>
            <a:ext cx="3463490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4336331" y="107355"/>
            <a:ext cx="3465576" cy="6621263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1588" y="3347558"/>
            <a:ext cx="12188825" cy="369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334564" y="3322160"/>
            <a:ext cx="2312940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9066301" y="3322159"/>
            <a:ext cx="3011979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312229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5159884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7098348" y="3322160"/>
            <a:ext cx="1851474" cy="46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8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85134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81192" y="-83584"/>
            <a:ext cx="2630663" cy="2628303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892383" y="2114848"/>
            <a:ext cx="2630663" cy="2628303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4227789" y="789286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91505" y="4313281"/>
            <a:ext cx="2357966" cy="2355851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544027" y="3866021"/>
            <a:ext cx="1817016" cy="1829102"/>
          </a:xfrm>
          <a:prstGeom prst="ellipse">
            <a:avLst/>
          </a:prstGeom>
        </p:spPr>
        <p:txBody>
          <a:bodyPr anchor="ctr"/>
          <a:lstStyle>
            <a:lvl1pPr marL="0" marR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/>
            </a:lvl1pPr>
          </a:lstStyle>
          <a:p>
            <a:pPr marL="0" marR="0" lvl="0" indent="0" algn="ctr" defTabSz="543505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086" y="3046807"/>
            <a:ext cx="7165001" cy="7977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26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8797" y="-641259"/>
            <a:ext cx="13337634" cy="38680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38" y="3081211"/>
            <a:ext cx="2552324" cy="85184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07210" y="4401397"/>
            <a:ext cx="6977581" cy="867630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48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B652E5-50FE-714D-8310-8E28DE55F6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7210" y="5269027"/>
            <a:ext cx="6977581" cy="635034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defRPr sz="2664" b="0">
                <a:solidFill>
                  <a:schemeClr val="bg2"/>
                </a:solidFill>
              </a:defRPr>
            </a:lvl1pPr>
          </a:lstStyle>
          <a:p>
            <a:r>
              <a:rPr lang="en-US" sz="2664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ubtitle / Presenter’s Name, Title Case</a:t>
            </a:r>
          </a:p>
        </p:txBody>
      </p:sp>
    </p:spTree>
    <p:extLst>
      <p:ext uri="{BB962C8B-B14F-4D97-AF65-F5344CB8AC3E}">
        <p14:creationId xmlns:p14="http://schemas.microsoft.com/office/powerpoint/2010/main" val="378947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_Subhead_Bubbles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22BD7C0-B1AF-9D4F-99B5-3251A82163FC}"/>
              </a:ext>
            </a:extLst>
          </p:cNvPr>
          <p:cNvSpPr/>
          <p:nvPr userDrawn="1"/>
        </p:nvSpPr>
        <p:spPr>
          <a:xfrm>
            <a:off x="0" y="6321669"/>
            <a:ext cx="12192000" cy="536331"/>
          </a:xfrm>
          <a:prstGeom prst="rect">
            <a:avLst/>
          </a:prstGeom>
          <a:solidFill>
            <a:schemeClr val="bg1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79400" dist="38100" dir="16200000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68951B7-1835-A149-887F-F9322297B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543" y="6321669"/>
            <a:ext cx="11736270" cy="536330"/>
          </a:xfrm>
          <a:prstGeom prst="rect">
            <a:avLst/>
          </a:prstGeom>
        </p:spPr>
        <p:txBody>
          <a:bodyPr anchor="ctr"/>
          <a:lstStyle>
            <a:lvl1pPr>
              <a:defRPr sz="1200" b="1" i="0">
                <a:solidFill>
                  <a:schemeClr val="accent1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5FA5B9-FF92-E44E-88EE-1D3553B15BC9}"/>
              </a:ext>
            </a:extLst>
          </p:cNvPr>
          <p:cNvCxnSpPr>
            <a:cxnSpLocks/>
          </p:cNvCxnSpPr>
          <p:nvPr userDrawn="1"/>
        </p:nvCxnSpPr>
        <p:spPr>
          <a:xfrm>
            <a:off x="11576204" y="6478154"/>
            <a:ext cx="0" cy="22336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3A316CA-73A6-7A47-B58D-F3CDF836CFFD}"/>
              </a:ext>
            </a:extLst>
          </p:cNvPr>
          <p:cNvSpPr txBox="1"/>
          <p:nvPr userDrawn="1"/>
        </p:nvSpPr>
        <p:spPr>
          <a:xfrm>
            <a:off x="10177444" y="6466724"/>
            <a:ext cx="13305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4E012FD2-64B6-7E4B-8A57-CD17A44D8FA5}" type="slidenum">
              <a:rPr lang="en-US" sz="1000" b="0" i="0" smtClean="0">
                <a:solidFill>
                  <a:schemeClr val="accent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000" b="0" i="0">
              <a:solidFill>
                <a:schemeClr val="accent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C51603-B943-9748-9EBD-FE931F1D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4" y="6375218"/>
            <a:ext cx="429233" cy="42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209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11576204" y="6478154"/>
            <a:ext cx="1" cy="223362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84844" y="6469756"/>
            <a:ext cx="323112" cy="240157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0223" y="6375217"/>
            <a:ext cx="429234" cy="42923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506651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7" y="6168300"/>
            <a:ext cx="12195176" cy="689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533389" y="467150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546317" y="945550"/>
            <a:ext cx="11180912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546317" y="1961475"/>
            <a:ext cx="5417911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6287138" y="1961475"/>
            <a:ext cx="5178148" cy="352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11549145" y="654200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7" name="Google Shape;2387;p228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675" rIns="91400" bIns="456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8" name="Google Shape;2388;p228"/>
          <p:cNvCxnSpPr/>
          <p:nvPr/>
        </p:nvCxnSpPr>
        <p:spPr>
          <a:xfrm>
            <a:off x="11099578" y="6542051"/>
            <a:ext cx="0" cy="195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1" y="6403039"/>
            <a:ext cx="412751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390" name="Google Shape;2390;p228"/>
          <p:cNvSpPr txBox="1">
            <a:spLocks noGrp="1"/>
          </p:cNvSpPr>
          <p:nvPr>
            <p:ph type="subTitle" idx="4"/>
          </p:nvPr>
        </p:nvSpPr>
        <p:spPr>
          <a:xfrm>
            <a:off x="-1575" y="6168300"/>
            <a:ext cx="12195176" cy="68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924942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313692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_Subhead_2Line_Bubbles - No animation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15182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09061"/>
            <a:ext cx="10363200" cy="912771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 b="0" i="0">
                <a:solidFill>
                  <a:schemeClr val="bg1"/>
                </a:solidFill>
                <a:latin typeface="+mn-lt"/>
              </a:defRPr>
            </a:lvl1pPr>
            <a:lvl2pPr marL="54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0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4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7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1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4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0149" y="792733"/>
            <a:ext cx="2411704" cy="2412019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379235" y="3404806"/>
            <a:ext cx="7433531" cy="595211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828800" y="4319115"/>
            <a:ext cx="8534401" cy="1395280"/>
          </a:xfr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24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28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3084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45279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954011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91833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29428" y="2063307"/>
            <a:ext cx="1991260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>
            <a:lvl1pPr>
              <a:defRPr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7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203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08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26339" y="716526"/>
            <a:ext cx="10326624" cy="537941"/>
          </a:xfrm>
        </p:spPr>
        <p:txBody>
          <a:bodyPr>
            <a:noAutofit/>
          </a:bodyPr>
          <a:lstStyle>
            <a:lvl1pPr>
              <a:defRPr sz="154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91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7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2535" y="1320801"/>
            <a:ext cx="2445225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9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811583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91540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19222" y="1723565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340815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511975" y="3836203"/>
            <a:ext cx="2357966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736407" y="1760703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289337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8188591" y="1778035"/>
            <a:ext cx="3048000" cy="3048000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254866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189792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325337" y="1893450"/>
            <a:ext cx="1952199" cy="35791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30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roject Sa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1169941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212043" y="1853428"/>
            <a:ext cx="2940891" cy="3888515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329161" y="2119730"/>
            <a:ext cx="3492190" cy="4864537"/>
          </a:xfrm>
        </p:spPr>
        <p:txBody>
          <a:bodyPr>
            <a:normAutofit/>
          </a:bodyPr>
          <a:lstStyle>
            <a:lvl1pPr>
              <a:defRPr sz="139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1659486"/>
            <a:ext cx="12192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039578-2316-364B-9333-E7F5AD310F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273" y="-6227"/>
            <a:ext cx="12201273" cy="68642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66725" y="5047931"/>
            <a:ext cx="6977581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48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5805" y="5324713"/>
            <a:ext cx="2307094" cy="76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92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&amp;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618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64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A38B8A-3C8A-4C1F-A324-12052FB706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105" y="1904003"/>
            <a:ext cx="5134809" cy="3962227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en-US" sz="1799"/>
            </a:lvl1pPr>
          </a:lstStyle>
          <a:p>
            <a:pPr marL="0" lv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873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63D0C033-8CCA-6C48-83C7-B9C3B83555CB}"/>
              </a:ext>
            </a:extLst>
          </p:cNvPr>
          <p:cNvSpPr>
            <a:spLocks noGrp="1"/>
          </p:cNvSpPr>
          <p:nvPr>
            <p:ph type="pic" sz="quarter" idx="87"/>
          </p:nvPr>
        </p:nvSpPr>
        <p:spPr>
          <a:xfrm>
            <a:off x="4248800" y="3099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BFDB4887-8E18-6C47-886D-479784A571EE}"/>
              </a:ext>
            </a:extLst>
          </p:cNvPr>
          <p:cNvSpPr>
            <a:spLocks noGrp="1"/>
          </p:cNvSpPr>
          <p:nvPr>
            <p:ph type="pic" sz="quarter" idx="88"/>
          </p:nvPr>
        </p:nvSpPr>
        <p:spPr>
          <a:xfrm>
            <a:off x="6096000" y="23446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AA7C80EB-FA6E-C941-8B1D-AB851438FA22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248800" y="347758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EEE0AAAD-E8F7-7043-AE31-53B2DE13AAB9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96000" y="3470031"/>
            <a:ext cx="1847199" cy="3405554"/>
          </a:xfrm>
          <a:noFill/>
        </p:spPr>
        <p:txBody>
          <a:bodyPr anchor="ctr" anchorCtr="0">
            <a:normAutofit/>
          </a:bodyPr>
          <a:lstStyle>
            <a:lvl1pPr algn="ctr">
              <a:defRPr sz="7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3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2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</p:bld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Column_No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11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768" y="1968500"/>
            <a:ext cx="10862917" cy="42386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hea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6572513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rmAutofit/>
          </a:bodyPr>
          <a:lstStyle>
            <a:lvl1pPr>
              <a:defRPr lang="en-US" sz="932" b="0" spc="-13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/Footnote: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lang="en-US" b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858972-ED82-44F8-8270-3B916FDC7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94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750"/>
            <a:ext cx="12261793" cy="6895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1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6212" y="6013519"/>
            <a:ext cx="2133259" cy="7119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19"/>
          <p:cNvSpPr txBox="1"/>
          <p:nvPr/>
        </p:nvSpPr>
        <p:spPr>
          <a:xfrm>
            <a:off x="441440" y="2970425"/>
            <a:ext cx="10610463" cy="11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200"/>
              <a:buFont typeface="Arial"/>
              <a:buNone/>
            </a:pPr>
            <a:endParaRPr sz="6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19"/>
          <p:cNvSpPr txBox="1"/>
          <p:nvPr/>
        </p:nvSpPr>
        <p:spPr>
          <a:xfrm>
            <a:off x="441440" y="3973425"/>
            <a:ext cx="10610463" cy="71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endParaRPr sz="26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6;p119"/>
          <p:cNvSpPr txBox="1">
            <a:spLocks noGrp="1"/>
          </p:cNvSpPr>
          <p:nvPr>
            <p:ph type="title"/>
          </p:nvPr>
        </p:nvSpPr>
        <p:spPr>
          <a:xfrm>
            <a:off x="533389" y="2779454"/>
            <a:ext cx="11193515" cy="49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8439338"/>
      </p:ext>
    </p:extLst>
  </p:cSld>
  <p:clrMapOvr>
    <a:masterClrMapping/>
  </p:clrMapOvr>
  <p:transition spd="med">
    <p:fade thruBlk="1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942868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 userDrawn="1">
  <p:cSld name="1_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0"/>
            <a:ext cx="121919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" name="Google Shape;21;p120"/>
          <p:cNvSpPr txBox="1"/>
          <p:nvPr/>
        </p:nvSpPr>
        <p:spPr>
          <a:xfrm>
            <a:off x="10131213" y="6532000"/>
            <a:ext cx="1049073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120"/>
          <p:cNvCxnSpPr/>
          <p:nvPr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38081" y="6403039"/>
            <a:ext cx="413133" cy="43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571261" y="132180"/>
            <a:ext cx="49722" cy="6858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2399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620983" y="365760"/>
            <a:ext cx="11276804" cy="982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FBEFBA-C92F-412E-92FF-867B8E8BA2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0875" y="1765300"/>
            <a:ext cx="11277362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23195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Subhead_Bubbles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gicon_transparent.png">
            <a:extLst>
              <a:ext uri="{FF2B5EF4-FFF2-40B4-BE49-F238E27FC236}">
                <a16:creationId xmlns:a16="http://schemas.microsoft.com/office/drawing/2014/main" id="{7EEF0077-41BB-A94A-BE05-AC34E8FA58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2552" y="6200574"/>
            <a:ext cx="391361" cy="3318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E5AA8F-77CC-EF40-8B54-0FD03519F4E4}"/>
              </a:ext>
            </a:extLst>
          </p:cNvPr>
          <p:cNvCxnSpPr>
            <a:cxnSpLocks/>
          </p:cNvCxnSpPr>
          <p:nvPr userDrawn="1"/>
        </p:nvCxnSpPr>
        <p:spPr>
          <a:xfrm>
            <a:off x="11308468" y="6158129"/>
            <a:ext cx="0" cy="4166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2D562F8-031A-DB49-AA3E-DF6A1AD7A4AA}"/>
              </a:ext>
            </a:extLst>
          </p:cNvPr>
          <p:cNvSpPr txBox="1"/>
          <p:nvPr userDrawn="1"/>
        </p:nvSpPr>
        <p:spPr>
          <a:xfrm>
            <a:off x="9873496" y="6227978"/>
            <a:ext cx="133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E012FD2-64B6-7E4B-8A57-CD17A44D8FA5}" type="slidenum">
              <a:rPr lang="en-US" sz="1200" b="0" i="0" smtClean="0">
                <a:solidFill>
                  <a:schemeClr val="bg1"/>
                </a:solidFill>
                <a:latin typeface="Helvetica Neue LT Std 45 Light" panose="020B0403020202020204" pitchFamily="34" charset="77"/>
                <a:ea typeface="Helvetica Neue Light" panose="02000403000000020004" pitchFamily="2" charset="0"/>
              </a:rPr>
              <a:pPr algn="r"/>
              <a:t>‹#›</a:t>
            </a:fld>
            <a:endParaRPr lang="en-US" sz="1400" b="0" i="0">
              <a:solidFill>
                <a:schemeClr val="bg1"/>
              </a:solidFill>
              <a:latin typeface="Helvetica Neue LT Std 45 Light" panose="020B0403020202020204" pitchFamily="34" charset="77"/>
              <a:ea typeface="Helvetica Neue Light" panose="02000403000000020004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1490" y="1151818"/>
            <a:ext cx="1149051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9" b="0" i="0" spc="0">
                <a:solidFill>
                  <a:schemeClr val="bg1"/>
                </a:solidFill>
                <a:latin typeface="Helvetica Neue LT Std 55 Roman" panose="020B0604020202020204" pitchFamily="34" charset="77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378" y="-124691"/>
            <a:ext cx="11505623" cy="1340427"/>
          </a:xfrm>
          <a:prstGeom prst="rect">
            <a:avLst/>
          </a:prstGeom>
        </p:spPr>
        <p:txBody>
          <a:bodyPr anchor="b"/>
          <a:lstStyle>
            <a:lvl1pPr>
              <a:defRPr sz="3599" b="1" i="0">
                <a:solidFill>
                  <a:schemeClr val="bg2"/>
                </a:solidFill>
                <a:latin typeface="Helvetica Neue LT Std 75" panose="020B0604020202020204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6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ac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22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1A4754-18D1-3147-A7C8-3F89F4F6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505162"/>
            <a:ext cx="10972801" cy="681954"/>
          </a:xfrm>
        </p:spPr>
        <p:txBody>
          <a:bodyPr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1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06451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ver Black">
  <p:cSld name="1_Cover Black">
    <p:bg>
      <p:bgPr>
        <a:solidFill>
          <a:schemeClr val="dk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9272" y="-6227"/>
            <a:ext cx="12201273" cy="6864227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body" idx="1"/>
          </p:nvPr>
        </p:nvSpPr>
        <p:spPr>
          <a:xfrm>
            <a:off x="4266725" y="5047933"/>
            <a:ext cx="6977581" cy="1046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08725" rIns="217475" bIns="108725" anchor="t" anchorCtr="0">
            <a:noAutofit/>
          </a:bodyPr>
          <a:lstStyle>
            <a:lvl1pPr marL="457063" lvl="0" indent="-228531" algn="l">
              <a:lnSpc>
                <a:spcPct val="130000"/>
              </a:lnSpc>
              <a:spcBef>
                <a:spcPts val="96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799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" name="Google Shape;1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55806" y="5324715"/>
            <a:ext cx="2307094" cy="769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01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 ">
  <p:cSld name="Title, Subhead ">
    <p:bg>
      <p:bgPr>
        <a:solidFill>
          <a:schemeClr val="dk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None/>
              <a:defRPr b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2pPr>
            <a:lvl3pPr marL="1371189" lvl="2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3pPr>
            <a:lvl4pPr marL="1828251" lvl="3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4pPr>
            <a:lvl5pPr marL="2285314" lvl="4" indent="-228531" algn="ctr">
              <a:lnSpc>
                <a:spcPct val="130000"/>
              </a:lnSpc>
              <a:spcBef>
                <a:spcPts val="36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5pPr>
            <a:lvl6pPr marL="2742377" lvl="5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199440" lvl="6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6503" lvl="7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3566" lvl="8" indent="-342797" algn="l"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609601" y="274639"/>
            <a:ext cx="1097280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17475" tIns="108725" rIns="217475" bIns="1087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999"/>
              <a:buFont typeface="Arial"/>
              <a:buNone/>
              <a:def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725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_Subhead_2Line_Bubbl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9;p120"/>
          <p:cNvSpPr txBox="1"/>
          <p:nvPr userDrawn="1"/>
        </p:nvSpPr>
        <p:spPr>
          <a:xfrm>
            <a:off x="11099569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77" tIns="45676" rIns="91377" bIns="456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20;p120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22;p120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3;p120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1638083" y="6403043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391824"/>
            <a:ext cx="11505623" cy="823912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3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2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Google Shape;41;p6"/>
          <p:cNvSpPr txBox="1"/>
          <p:nvPr userDrawn="1"/>
        </p:nvSpPr>
        <p:spPr>
          <a:xfrm>
            <a:off x="11099568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" name="Google Shape;42;p6"/>
          <p:cNvCxnSpPr/>
          <p:nvPr userDrawn="1"/>
        </p:nvCxnSpPr>
        <p:spPr>
          <a:xfrm>
            <a:off x="11549145" y="654200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" name="Google Shape;45;p6"/>
          <p:cNvPicPr preferRelativeResize="0"/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1"/>
            <a:ext cx="413133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79" y="546538"/>
            <a:ext cx="11505623" cy="669198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1" y="391824"/>
            <a:ext cx="49722" cy="685800"/>
            <a:chOff x="579865" y="-277318"/>
            <a:chExt cx="49722" cy="179882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4" name="Google Shape;43;p6"/>
          <p:cNvSpPr txBox="1"/>
          <p:nvPr userDrawn="1"/>
        </p:nvSpPr>
        <p:spPr>
          <a:xfrm>
            <a:off x="9542139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1" tIns="45688" rIns="91401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33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064391"/>
            <a:ext cx="10863324" cy="3521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2" y="371343"/>
            <a:ext cx="10863325" cy="693049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7256" y="1739141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8491" y="1722885"/>
            <a:ext cx="4834007" cy="4532312"/>
          </a:xfrm>
          <a:prstGeom prst="rect">
            <a:avLst/>
          </a:prstGeom>
        </p:spPr>
        <p:txBody>
          <a:bodyPr/>
          <a:lstStyle>
            <a:lvl1pPr marL="285664" indent="-285664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829006" indent="-285664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372347" indent="-285664" algn="l">
              <a:buFont typeface="Wingdings" pitchFamily="2" charset="2"/>
              <a:buChar char="§"/>
              <a:defRPr>
                <a:latin typeface="+mn-lt"/>
              </a:defRPr>
            </a:lvl3pPr>
            <a:lvl4pPr marL="1915692" indent="-285664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746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3_Cover Black"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5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4"/>
          <p:cNvSpPr txBox="1"/>
          <p:nvPr/>
        </p:nvSpPr>
        <p:spPr>
          <a:xfrm>
            <a:off x="441440" y="1992417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" sz="1733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46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4"/>
          <p:cNvSpPr txBox="1"/>
          <p:nvPr/>
        </p:nvSpPr>
        <p:spPr>
          <a:xfrm>
            <a:off x="441441" y="2970425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700"/>
              <a:buFont typeface="Arial"/>
              <a:buNone/>
            </a:pPr>
            <a:endParaRPr sz="6265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14"/>
          <p:cNvSpPr txBox="1"/>
          <p:nvPr/>
        </p:nvSpPr>
        <p:spPr>
          <a:xfrm>
            <a:off x="441441" y="3973425"/>
            <a:ext cx="10610400" cy="7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91410" rIns="91410" bIns="9141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666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724641"/>
      </p:ext>
    </p:extLst>
  </p:cSld>
  <p:clrMapOvr>
    <a:masterClrMapping/>
  </p:clrMapOvr>
  <p:transition spd="med">
    <p:fade thruBlk="1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8" y="1543212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12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0" name="Google Shape;130;p2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7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2" name="Google Shape;132;p23"/>
          <p:cNvCxnSpPr/>
          <p:nvPr/>
        </p:nvCxnSpPr>
        <p:spPr>
          <a:xfrm>
            <a:off x="11549144" y="654200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23"/>
          <p:cNvSpPr txBox="1"/>
          <p:nvPr/>
        </p:nvSpPr>
        <p:spPr>
          <a:xfrm>
            <a:off x="10131214" y="6532000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0" tIns="45688" rIns="91410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6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23"/>
          <p:cNvCxnSpPr/>
          <p:nvPr/>
        </p:nvCxnSpPr>
        <p:spPr>
          <a:xfrm>
            <a:off x="11099578" y="6542051"/>
            <a:ext cx="0" cy="1952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20451848"/>
      </p:ext>
    </p:extLst>
  </p:cSld>
  <p:clrMapOvr>
    <a:masterClrMapping/>
  </p:clrMapOvr>
  <p:transition spd="med">
    <p:fade thruBlk="1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9"/>
          <p:cNvSpPr txBox="1"/>
          <p:nvPr/>
        </p:nvSpPr>
        <p:spPr>
          <a:xfrm>
            <a:off x="9070848" y="6572534"/>
            <a:ext cx="1292352" cy="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" sz="933" b="0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t>Seagate Confidential</a:t>
            </a:r>
            <a:endParaRPr sz="933" b="0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33982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_No_Subhead">
  <p:cSld name="1-Column_No_Subhead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47"/>
          <p:cNvSpPr txBox="1">
            <a:spLocks noGrp="1"/>
          </p:cNvSpPr>
          <p:nvPr>
            <p:ph type="body" idx="1"/>
          </p:nvPr>
        </p:nvSpPr>
        <p:spPr>
          <a:xfrm>
            <a:off x="609603" y="6572514"/>
            <a:ext cx="8156223" cy="14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32"/>
              <a:buNone/>
              <a:defRPr sz="932" b="0">
                <a:solidFill>
                  <a:schemeClr val="dk2"/>
                </a:solidFill>
              </a:defRPr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47"/>
          <p:cNvSpPr txBox="1">
            <a:spLocks noGrp="1"/>
          </p:cNvSpPr>
          <p:nvPr>
            <p:ph type="title"/>
          </p:nvPr>
        </p:nvSpPr>
        <p:spPr>
          <a:xfrm>
            <a:off x="609600" y="543340"/>
            <a:ext cx="10863325" cy="43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47"/>
          <p:cNvSpPr txBox="1">
            <a:spLocks noGrp="1"/>
          </p:cNvSpPr>
          <p:nvPr>
            <p:ph type="body" idx="2"/>
          </p:nvPr>
        </p:nvSpPr>
        <p:spPr>
          <a:xfrm>
            <a:off x="609759" y="1968502"/>
            <a:ext cx="10862917" cy="423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86" lvl="0" indent="-228543"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  <a:defRPr/>
            </a:lvl1pPr>
            <a:lvl2pPr marL="914171" lvl="1" indent="-342814" algn="l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2pPr>
            <a:lvl3pPr marL="1371257" lvl="2" indent="-342814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800"/>
              <a:buChar char="–"/>
              <a:defRPr/>
            </a:lvl3pPr>
            <a:lvl4pPr marL="1828343" lvl="3" indent="-330117" algn="l">
              <a:spcBef>
                <a:spcPts val="800"/>
              </a:spcBef>
              <a:spcAft>
                <a:spcPts val="0"/>
              </a:spcAft>
              <a:buClr>
                <a:srgbClr val="78777A"/>
              </a:buClr>
              <a:buSzPts val="1600"/>
              <a:buChar char="•"/>
              <a:defRPr/>
            </a:lvl4pPr>
            <a:lvl5pPr marL="2285429" lvl="4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2514" lvl="5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6pPr>
            <a:lvl7pPr marL="3199600" lvl="6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7pPr>
            <a:lvl8pPr marL="3656686" lvl="7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8pPr>
            <a:lvl9pPr marL="4113771" lvl="8" indent="-342814" algn="l"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1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6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6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722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9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874969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_Subhead_2Line_Bubbles" userDrawn="1">
  <p:cSld name="Header_Subhead_2Line_Bubbles">
    <p:bg>
      <p:bgPr>
        <a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1;p6"/>
          <p:cNvSpPr txBox="1"/>
          <p:nvPr userDrawn="1"/>
        </p:nvSpPr>
        <p:spPr>
          <a:xfrm>
            <a:off x="11099567" y="6506275"/>
            <a:ext cx="449517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" name="Google Shape;42;p6"/>
          <p:cNvCxnSpPr/>
          <p:nvPr userDrawn="1"/>
        </p:nvCxnSpPr>
        <p:spPr>
          <a:xfrm>
            <a:off x="11549144" y="6542002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43;p6"/>
          <p:cNvSpPr txBox="1"/>
          <p:nvPr userDrawn="1"/>
        </p:nvSpPr>
        <p:spPr>
          <a:xfrm>
            <a:off x="9542140" y="6532000"/>
            <a:ext cx="1638148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2" tIns="45688" rIns="91402" bIns="4568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600">
                <a:solidFill>
                  <a:srgbClr val="FFFFFF"/>
                </a:solidFill>
              </a:rPr>
              <a:t>Seagate Confidential Shared</a:t>
            </a:r>
            <a:r>
              <a:rPr lang="en-US" sz="600" baseline="0">
                <a:solidFill>
                  <a:srgbClr val="FFFFFF"/>
                </a:solidFill>
              </a:rPr>
              <a:t> Under NDA</a:t>
            </a:r>
            <a:endParaRPr sz="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Google Shape;44;p6"/>
          <p:cNvCxnSpPr/>
          <p:nvPr userDrawn="1"/>
        </p:nvCxnSpPr>
        <p:spPr>
          <a:xfrm>
            <a:off x="11099578" y="6542051"/>
            <a:ext cx="0" cy="1953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oogle Shape;45;p6"/>
          <p:cNvPicPr preferRelativeResize="0"/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8082" y="6403040"/>
            <a:ext cx="413132" cy="43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01491" y="1151818"/>
            <a:ext cx="10936591" cy="100949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398" b="0" i="0" spc="0">
                <a:solidFill>
                  <a:schemeClr val="accent1"/>
                </a:solidFill>
                <a:latin typeface="+mj-lt"/>
              </a:defRPr>
            </a:lvl1pPr>
            <a:lvl2pPr marL="456948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98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380" y="546539"/>
            <a:ext cx="11505622" cy="669199"/>
          </a:xfrm>
          <a:prstGeom prst="rect">
            <a:avLst/>
          </a:prstGeom>
        </p:spPr>
        <p:txBody>
          <a:bodyPr anchor="b"/>
          <a:lstStyle>
            <a:lvl1pPr>
              <a:defRPr sz="3598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571262" y="391824"/>
            <a:ext cx="49721" cy="685800"/>
            <a:chOff x="579865" y="-277318"/>
            <a:chExt cx="49722" cy="17988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28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885" y="-56271"/>
            <a:ext cx="12267148" cy="6945149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418754" y="1136026"/>
          <a:ext cx="11308077" cy="5276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7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3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2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0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649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4338">
                <a:tc rowSpan="2" gridSpan="4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108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91488" marR="914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91488" marR="914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529">
                <a:tc rowSpan="4"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2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12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12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1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1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91488" marR="91488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65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6465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12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18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88" marR="914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1488" marR="914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8" y="1141957"/>
            <a:ext cx="1334945" cy="555717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10830737" y="1533200"/>
            <a:ext cx="110403" cy="105308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9174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410362" y="6485863"/>
            <a:ext cx="4892862" cy="235091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608462">
              <a:buClrTx/>
              <a:buFontTx/>
              <a:buNone/>
            </a:pPr>
            <a:endParaRPr lang="en-US" sz="900" b="1" kern="1200">
              <a:solidFill>
                <a:srgbClr val="000000"/>
              </a:solidFill>
            </a:endParaRP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608462">
              <a:buClrTx/>
              <a:buFontTx/>
              <a:buNone/>
            </a:pPr>
            <a:r>
              <a:rPr lang="en-US" sz="9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1315258" y="6543410"/>
            <a:ext cx="120822" cy="120853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2420350" y="6543410"/>
            <a:ext cx="120885" cy="120853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608991">
              <a:buClrTx/>
              <a:buFontTx/>
              <a:buNone/>
            </a:pPr>
            <a:endParaRPr lang="en-US" sz="9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6839" y="6535655"/>
            <a:ext cx="324249" cy="274836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11099569" y="6519527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buClrTx/>
              <a:buFontTx/>
              <a:buNone/>
              <a:defRPr/>
            </a:pPr>
            <a:fld id="{63EBF4A3-DF90-A145-ABFB-48E1A00C731F}" type="slidenum">
              <a:rPr lang="en-US" sz="800" smtClean="0">
                <a:solidFill>
                  <a:srgbClr val="FFFFFF"/>
                </a:solidFill>
                <a:ea typeface="+mn-ea"/>
                <a:cs typeface="+mn-cs"/>
              </a:rPr>
              <a:pPr algn="ctr" defTabSz="457200">
                <a:buClrTx/>
                <a:buFontTx/>
                <a:buNone/>
                <a:defRPr/>
              </a:pPr>
              <a:t>‹#›</a:t>
            </a:fld>
            <a:endParaRPr lang="en-US" sz="800">
              <a:solidFill>
                <a:srgbClr val="FFFFFF"/>
              </a:solidFill>
              <a:ea typeface="+mn-ea"/>
              <a:cs typeface="+mn-cs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498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4705" y="2584534"/>
            <a:ext cx="11364384" cy="1046781"/>
          </a:xfrm>
          <a:prstGeom prst="rect">
            <a:avLst/>
          </a:prstGeom>
        </p:spPr>
        <p:txBody>
          <a:bodyPr lIns="0">
            <a:noAutofit/>
          </a:bodyPr>
          <a:lstStyle>
            <a:lvl1pPr algn="ctr">
              <a:spcBef>
                <a:spcPts val="0"/>
              </a:spcBef>
              <a:defRPr sz="6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ivider Slide Title, Title Cas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04093" y="3720398"/>
            <a:ext cx="11364698" cy="460868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title Goes Here, Title Case</a:t>
            </a:r>
          </a:p>
        </p:txBody>
      </p:sp>
      <p:pic>
        <p:nvPicPr>
          <p:cNvPr id="9" name="Picture 8" descr="sgicon_transparent.png"/>
          <p:cNvPicPr>
            <a:picLocks noChangeAspect="1"/>
          </p:cNvPicPr>
          <p:nvPr userDrawn="1"/>
        </p:nvPicPr>
        <p:blipFill>
          <a:blip r:embed="rId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6846" y="6481337"/>
            <a:ext cx="324249" cy="2748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549145" y="6542001"/>
            <a:ext cx="0" cy="195384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11099567" y="6506275"/>
            <a:ext cx="449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4421882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-Column">
  <p:cSld name="1-Colum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7"/>
          <p:cNvSpPr txBox="1">
            <a:spLocks noGrp="1"/>
          </p:cNvSpPr>
          <p:nvPr>
            <p:ph type="body" idx="1"/>
          </p:nvPr>
        </p:nvSpPr>
        <p:spPr>
          <a:xfrm>
            <a:off x="609603" y="1968797"/>
            <a:ext cx="10960000" cy="42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2322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­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17"/>
          <p:cNvSpPr txBox="1">
            <a:spLocks noGrp="1"/>
          </p:cNvSpPr>
          <p:nvPr>
            <p:ph type="body" idx="2"/>
          </p:nvPr>
        </p:nvSpPr>
        <p:spPr>
          <a:xfrm>
            <a:off x="609606" y="6572513"/>
            <a:ext cx="8156000" cy="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700"/>
              <a:buFont typeface="Arial"/>
              <a:buNone/>
              <a:defRPr sz="9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7"/>
          <p:cNvSpPr txBox="1">
            <a:spLocks noGrp="1"/>
          </p:cNvSpPr>
          <p:nvPr>
            <p:ph type="body" idx="3"/>
          </p:nvPr>
        </p:nvSpPr>
        <p:spPr>
          <a:xfrm>
            <a:off x="609600" y="1170409"/>
            <a:ext cx="9753600" cy="3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marR="0" lvl="0" indent="-30472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21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95" marR="0" lvl="1" indent="-440157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▪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343" marR="0" lvl="2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–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790" marR="0" lvl="3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866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238" marR="0" lvl="4" indent="-423228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erriweather Sans"/>
              <a:buChar char="-"/>
              <a:defRPr sz="186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686" marR="0" lvl="5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133" marR="0" lvl="6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581" marR="0" lvl="7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028" marR="0" lvl="8" indent="-4740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7"/>
          <p:cNvSpPr txBox="1">
            <a:spLocks noGrp="1"/>
          </p:cNvSpPr>
          <p:nvPr>
            <p:ph type="title"/>
          </p:nvPr>
        </p:nvSpPr>
        <p:spPr>
          <a:xfrm>
            <a:off x="619367" y="3"/>
            <a:ext cx="9744001" cy="10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17"/>
          <p:cNvSpPr txBox="1"/>
          <p:nvPr/>
        </p:nvSpPr>
        <p:spPr>
          <a:xfrm>
            <a:off x="10287557" y="6572517"/>
            <a:ext cx="1282400" cy="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" sz="933" b="1" i="0" u="none" strike="noStrike" cap="none">
                <a:solidFill>
                  <a:srgbClr val="78777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#›</a:t>
            </a:fld>
            <a:endParaRPr sz="933" b="1" i="0" u="none" strike="noStrike" cap="none">
              <a:solidFill>
                <a:srgbClr val="78777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05405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14401" y="283887"/>
            <a:ext cx="10363200" cy="566759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932690" y="739437"/>
            <a:ext cx="10326624" cy="419558"/>
          </a:xfrm>
          <a:prstGeom prst="rect">
            <a:avLst/>
          </a:prstGeom>
        </p:spPr>
        <p:txBody>
          <a:bodyPr vert="horz" lIns="108703" tIns="54351" rIns="108703" bIns="54351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49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3926" y="1670050"/>
            <a:ext cx="10344150" cy="42640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5707744" y="1297178"/>
            <a:ext cx="776519" cy="6398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652" tIns="22827" rIns="45652" bIns="22827" rtlCol="0" anchor="ctr"/>
          <a:lstStyle/>
          <a:p>
            <a:pPr algn="ctr"/>
            <a:endParaRPr lang="en-US" sz="1199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1862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1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4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2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1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2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09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1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16" lvl="1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373" lvl="2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29" lvl="3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289" lvl="4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747" lvl="5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203" lvl="6" indent="-405639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661" lvl="7" indent="-405639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118" lvl="8" indent="-405639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7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Green">
  <p:cSld name="Cover Green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75"/>
          <p:cNvSpPr txBox="1"/>
          <p:nvPr/>
        </p:nvSpPr>
        <p:spPr>
          <a:xfrm>
            <a:off x="10428323" y="6446783"/>
            <a:ext cx="1185200" cy="2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/1/2017</a:t>
            </a:r>
            <a:endParaRPr sz="13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88" name="Google Shape;588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p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3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75"/>
          <p:cNvSpPr txBox="1"/>
          <p:nvPr/>
        </p:nvSpPr>
        <p:spPr>
          <a:xfrm>
            <a:off x="478971" y="1992420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MAXIMIZING DATA'S POTENTIAL</a:t>
            </a:r>
            <a:endParaRPr sz="1500"/>
          </a:p>
        </p:txBody>
      </p:sp>
      <p:sp>
        <p:nvSpPr>
          <p:cNvPr id="591" name="Google Shape;591;p75"/>
          <p:cNvSpPr txBox="1">
            <a:spLocks noGrp="1"/>
          </p:cNvSpPr>
          <p:nvPr>
            <p:ph type="subTitle" idx="1"/>
          </p:nvPr>
        </p:nvSpPr>
        <p:spPr>
          <a:xfrm>
            <a:off x="441440" y="3862503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92" name="Google Shape;592;p75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76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5" name="Google Shape;595;p7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6" name="Google Shape;596;p7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97" name="Google Shape;597;p7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8" name="Google Shape;598;p7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9" name="Google Shape;599;p7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0" name="Google Shape;600;p76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  <p:sp>
        <p:nvSpPr>
          <p:cNvPr id="601" name="Google Shape;601;p76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6EBE4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1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7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6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Impact ">
  <p:cSld name="Big Impact ">
    <p:bg>
      <p:bgPr>
        <a:solidFill>
          <a:schemeClr val="lt1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" name="Google Shape;634;p80"/>
          <p:cNvPicPr preferRelativeResize="0"/>
          <p:nvPr/>
        </p:nvPicPr>
        <p:blipFill rotWithShape="1">
          <a:blip r:embed="rId2">
            <a:alphaModFix/>
          </a:blip>
          <a:srcRect l="551" t="24378" r="877" b="20403"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35" name="Google Shape;635;p80"/>
          <p:cNvSpPr txBox="1">
            <a:spLocks noGrp="1"/>
          </p:cNvSpPr>
          <p:nvPr>
            <p:ph type="title"/>
          </p:nvPr>
        </p:nvSpPr>
        <p:spPr>
          <a:xfrm>
            <a:off x="51" y="2417970"/>
            <a:ext cx="12192000" cy="14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6400"/>
            </a:lvl9pPr>
          </a:lstStyle>
          <a:p>
            <a:endParaRPr/>
          </a:p>
        </p:txBody>
      </p:sp>
      <p:sp>
        <p:nvSpPr>
          <p:cNvPr id="636" name="Google Shape;636;p8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8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8" name="Google Shape;638;p8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9" name="Google Shape;639;p8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0" name="Google Shape;640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Google Shape;650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1" name="Google Shape;651;p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52" name="Google Shape;652;p82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53" name="Google Shape;653;p8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8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5" name="Google Shape;655;p8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6" name="Google Shape;656;p8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Image">
  <p:cSld name="Content/Image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Google Shape;658;p83"/>
          <p:cNvSpPr txBox="1">
            <a:spLocks noGrp="1"/>
          </p:cNvSpPr>
          <p:nvPr>
            <p:ph type="subTitle" idx="1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59" name="Google Shape;659;p83"/>
          <p:cNvSpPr txBox="1">
            <a:spLocks noGrp="1"/>
          </p:cNvSpPr>
          <p:nvPr>
            <p:ph type="subTitle" idx="2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0" name="Google Shape;660;p83"/>
          <p:cNvSpPr txBox="1">
            <a:spLocks noGrp="1"/>
          </p:cNvSpPr>
          <p:nvPr>
            <p:ph type="subTitle" idx="3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661" name="Google Shape;661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8639" y="-56500"/>
            <a:ext cx="6101600" cy="693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62" name="Google Shape;662;p8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63" name="Google Shape;663;p83"/>
          <p:cNvSpPr txBox="1">
            <a:spLocks noGrp="1"/>
          </p:cNvSpPr>
          <p:nvPr>
            <p:ph type="subTitle" idx="4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4" name="Google Shape;664;p83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65" name="Google Shape;665;p8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6" name="Google Shape;666;p8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67" name="Google Shape;667;p8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8" name="Google Shape;668;p8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69" name="Google Shape;66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/BlankImage">
  <p:cSld name="Content/Image_1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53880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672" name="Google Shape;672;p8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53880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73" name="Google Shape;673;p84"/>
          <p:cNvSpPr txBox="1"/>
          <p:nvPr/>
        </p:nvSpPr>
        <p:spPr>
          <a:xfrm>
            <a:off x="6109416" y="1"/>
            <a:ext cx="6082400" cy="6858000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674" name="Google Shape;674;p8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75" name="Google Shape;675;p8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6" name="Google Shape;676;p8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7" name="Google Shape;677;p8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8" name="Google Shape;678;p8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79" name="Google Shape;679;p84"/>
          <p:cNvSpPr txBox="1">
            <a:spLocks noGrp="1"/>
          </p:cNvSpPr>
          <p:nvPr>
            <p:ph type="subTitle" idx="2"/>
          </p:nvPr>
        </p:nvSpPr>
        <p:spPr>
          <a:xfrm>
            <a:off x="990608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0" name="Google Shape;680;p84"/>
          <p:cNvSpPr txBox="1">
            <a:spLocks noGrp="1"/>
          </p:cNvSpPr>
          <p:nvPr>
            <p:ph type="subTitle" idx="3"/>
          </p:nvPr>
        </p:nvSpPr>
        <p:spPr>
          <a:xfrm>
            <a:off x="3544623" y="5262424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1" name="Google Shape;681;p84"/>
          <p:cNvSpPr txBox="1">
            <a:spLocks noGrp="1"/>
          </p:cNvSpPr>
          <p:nvPr>
            <p:ph type="subTitle" idx="4"/>
          </p:nvPr>
        </p:nvSpPr>
        <p:spPr>
          <a:xfrm>
            <a:off x="990608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82" name="Google Shape;682;p84"/>
          <p:cNvSpPr txBox="1">
            <a:spLocks noGrp="1"/>
          </p:cNvSpPr>
          <p:nvPr>
            <p:ph type="subTitle" idx="5"/>
          </p:nvPr>
        </p:nvSpPr>
        <p:spPr>
          <a:xfrm>
            <a:off x="3544623" y="3245451"/>
            <a:ext cx="1654800" cy="7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y">
  <p:cSld name="Section Divider Grey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7"/>
          <p:cNvSpPr/>
          <p:nvPr/>
        </p:nvSpPr>
        <p:spPr>
          <a:xfrm>
            <a:off x="-36684" y="2"/>
            <a:ext cx="1219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181" tIns="45572" rIns="91181" bIns="45572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4" name="Google Shape;604;p7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5" name="Google Shape;605;p7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06" name="Google Shape;606;p7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07" name="Google Shape;607;p7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08" name="Google Shape;608;p7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75" y="2519198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10" name="Google Shape;610;p77"/>
          <p:cNvSpPr txBox="1">
            <a:spLocks noGrp="1"/>
          </p:cNvSpPr>
          <p:nvPr>
            <p:ph type="subTitle" idx="1"/>
          </p:nvPr>
        </p:nvSpPr>
        <p:spPr>
          <a:xfrm>
            <a:off x="0" y="3628178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Image, Content">
  <p:cSld name="Top Image, Content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4" name="Google Shape;684;p85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85" name="Google Shape;685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"/>
            <a:ext cx="12191600" cy="3449201"/>
          </a:xfrm>
          <a:prstGeom prst="rect">
            <a:avLst/>
          </a:prstGeom>
          <a:noFill/>
          <a:ln>
            <a:noFill/>
          </a:ln>
        </p:spPr>
      </p:pic>
      <p:sp>
        <p:nvSpPr>
          <p:cNvPr id="686" name="Google Shape;686;p85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7" name="Google Shape;687;p85"/>
          <p:cNvSpPr txBox="1">
            <a:spLocks noGrp="1"/>
          </p:cNvSpPr>
          <p:nvPr>
            <p:ph type="body" idx="1"/>
          </p:nvPr>
        </p:nvSpPr>
        <p:spPr>
          <a:xfrm>
            <a:off x="477349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8" name="Google Shape;688;p85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89" name="Google Shape;689;p85"/>
          <p:cNvSpPr txBox="1">
            <a:spLocks noGrp="1"/>
          </p:cNvSpPr>
          <p:nvPr>
            <p:ph type="body" idx="3"/>
          </p:nvPr>
        </p:nvSpPr>
        <p:spPr>
          <a:xfrm>
            <a:off x="6193837" y="4164977"/>
            <a:ext cx="5537600" cy="23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pic>
        <p:nvPicPr>
          <p:cNvPr id="690" name="Google Shape;690;p85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91" name="Google Shape;691;p8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8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3" name="Google Shape;693;p8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4" name="Google Shape;694;p8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5" name="Google Shape;695;p85"/>
          <p:cNvSpPr txBox="1"/>
          <p:nvPr/>
        </p:nvSpPr>
        <p:spPr>
          <a:xfrm>
            <a:off x="152440" y="152400"/>
            <a:ext cx="3000800" cy="300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1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2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3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4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5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  <a:p>
            <a:pPr marL="0" lvl="6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●"/>
            </a:pPr>
            <a:endParaRPr sz="1600">
              <a:solidFill>
                <a:schemeClr val="dk1"/>
              </a:solidFill>
            </a:endParaRPr>
          </a:p>
          <a:p>
            <a:pPr marL="0" lvl="7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</a:pPr>
            <a:endParaRPr sz="1600">
              <a:solidFill>
                <a:schemeClr val="dk1"/>
              </a:solidFill>
            </a:endParaRPr>
          </a:p>
          <a:p>
            <a:pPr marL="0" lvl="8" indent="-10141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Char char="■"/>
            </a:pPr>
            <a:endParaRPr sz="160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Blank Image, Content">
  <p:cSld name="Top Image, Content_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7" name="Google Shape;697;p86"/>
          <p:cNvCxnSpPr/>
          <p:nvPr/>
        </p:nvCxnSpPr>
        <p:spPr>
          <a:xfrm>
            <a:off x="443689" y="4080860"/>
            <a:ext cx="113824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8" name="Google Shape;698;p86"/>
          <p:cNvSpPr txBox="1">
            <a:spLocks noGrp="1"/>
          </p:cNvSpPr>
          <p:nvPr>
            <p:ph type="title"/>
          </p:nvPr>
        </p:nvSpPr>
        <p:spPr>
          <a:xfrm>
            <a:off x="477349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699" name="Google Shape;699;p86"/>
          <p:cNvSpPr txBox="1">
            <a:spLocks noGrp="1"/>
          </p:cNvSpPr>
          <p:nvPr>
            <p:ph type="body" idx="1"/>
          </p:nvPr>
        </p:nvSpPr>
        <p:spPr>
          <a:xfrm>
            <a:off x="477349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0" name="Google Shape;700;p86"/>
          <p:cNvSpPr txBox="1">
            <a:spLocks noGrp="1"/>
          </p:cNvSpPr>
          <p:nvPr>
            <p:ph type="title" idx="2"/>
          </p:nvPr>
        </p:nvSpPr>
        <p:spPr>
          <a:xfrm>
            <a:off x="6193837" y="3657500"/>
            <a:ext cx="5537600" cy="339201"/>
          </a:xfrm>
          <a:prstGeom prst="rect">
            <a:avLst/>
          </a:prstGeom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endParaRPr/>
          </a:p>
        </p:txBody>
      </p:sp>
      <p:sp>
        <p:nvSpPr>
          <p:cNvPr id="701" name="Google Shape;701;p86"/>
          <p:cNvSpPr txBox="1">
            <a:spLocks noGrp="1"/>
          </p:cNvSpPr>
          <p:nvPr>
            <p:ph type="body" idx="3"/>
          </p:nvPr>
        </p:nvSpPr>
        <p:spPr>
          <a:xfrm>
            <a:off x="6193837" y="4164975"/>
            <a:ext cx="5537600" cy="245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6947" lvl="1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5419" lvl="2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3891" lvl="3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2365" lvl="4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0837" lvl="5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59310" lvl="6" indent="-40565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67782" lvl="7" indent="-40565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76255" lvl="8" indent="-40565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02" name="Google Shape;702;p86"/>
          <p:cNvSpPr txBox="1"/>
          <p:nvPr/>
        </p:nvSpPr>
        <p:spPr>
          <a:xfrm>
            <a:off x="5152" y="8576"/>
            <a:ext cx="12186800" cy="3480799"/>
          </a:xfrm>
          <a:prstGeom prst="rect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>
                <a:solidFill>
                  <a:srgbClr val="B7B7B7"/>
                </a:solidFill>
              </a:rPr>
              <a:t>Paste your picture here</a:t>
            </a:r>
            <a:endParaRPr sz="1900">
              <a:solidFill>
                <a:srgbClr val="B7B7B7"/>
              </a:solidFill>
            </a:endParaRPr>
          </a:p>
        </p:txBody>
      </p:sp>
      <p:pic>
        <p:nvPicPr>
          <p:cNvPr id="703" name="Google Shape;703;p8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04" name="Google Shape;704;p8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5" name="Google Shape;705;p8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6" name="Google Shape;706;p8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7" name="Google Shape;707;p8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">
  <p:cSld name="Horizontal Image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9" name="Google Shape;709;p87"/>
          <p:cNvPicPr preferRelativeResize="0"/>
          <p:nvPr/>
        </p:nvPicPr>
        <p:blipFill rotWithShape="1">
          <a:blip r:embed="rId2">
            <a:alphaModFix/>
          </a:blip>
          <a:srcRect l="5123" t="48211" b="20350"/>
          <a:stretch/>
        </p:blipFill>
        <p:spPr>
          <a:xfrm>
            <a:off x="609601" y="1789869"/>
            <a:ext cx="10998800" cy="28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710" name="Google Shape;710;p87"/>
          <p:cNvSpPr/>
          <p:nvPr/>
        </p:nvSpPr>
        <p:spPr>
          <a:xfrm>
            <a:off x="8083005" y="1788975"/>
            <a:ext cx="2936400" cy="2860000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1" name="Google Shape;711;p87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2" name="Google Shape;712;p8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13" name="Google Shape;713;p8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4" name="Google Shape;714;p87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5" name="Google Shape;715;p87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6" name="Google Shape;716;p87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7" name="Google Shape;717;p87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18" name="Google Shape;718;p87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19" name="Google Shape;719;p87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0" name="Google Shape;720;p87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21" name="Google Shape;721;p87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22" name="Google Shape;722;p87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3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3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5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7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1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9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9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9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10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10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1">
  <p:cSld name="Section Divider Image 1"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2" name="Google Shape;612;p78"/>
          <p:cNvPicPr preferRelativeResize="0"/>
          <p:nvPr/>
        </p:nvPicPr>
        <p:blipFill rotWithShape="1">
          <a:blip r:embed="rId2">
            <a:alphaModFix/>
          </a:blip>
          <a:srcRect l="15484" r="29033"/>
          <a:stretch/>
        </p:blipFill>
        <p:spPr>
          <a:xfrm>
            <a:off x="5427677" y="897"/>
            <a:ext cx="6756000" cy="6849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13" name="Google Shape;613;p78"/>
          <p:cNvPicPr preferRelativeResize="0"/>
          <p:nvPr/>
        </p:nvPicPr>
        <p:blipFill rotWithShape="1">
          <a:blip r:embed="rId3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cxnSp>
        <p:nvCxnSpPr>
          <p:cNvPr id="614" name="Google Shape;614;p78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15" name="Google Shape;615;p78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16" name="Google Shape;616;p78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617" name="Google Shape;617;p7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8" name="Google Shape;618;p7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9" name="Google Shape;619;p7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0" name="Google Shape;620;p7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21" name="Google Shape;621;p7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22539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16" lvl="1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373" lvl="2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29" lvl="3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289" lvl="4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747" lvl="5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203" lvl="6" indent="-397187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661" lvl="7" indent="-397187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118" lvl="8" indent="-397187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8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16" lvl="1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373" lvl="2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29" lvl="3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289" lvl="4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747" lvl="5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203" lvl="6" indent="-43099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661" lvl="7" indent="-43099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118" lvl="8" indent="-43099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1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58" lvl="0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16" lvl="1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373" lvl="2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29" lvl="3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289" lvl="4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747" lvl="5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203" lvl="6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661" lvl="7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118" lvl="8" indent="-380287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4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7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5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3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6" rIns="91265" bIns="4561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6" rIns="91265" bIns="4561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Image 2">
  <p:cSld name="Section Divider Image 2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3" name="Google Shape;623;p79"/>
          <p:cNvPicPr preferRelativeResize="0"/>
          <p:nvPr/>
        </p:nvPicPr>
        <p:blipFill rotWithShape="1">
          <a:blip r:embed="rId2">
            <a:alphaModFix/>
          </a:blip>
          <a:srcRect t="-22010"/>
          <a:stretch/>
        </p:blipFill>
        <p:spPr>
          <a:xfrm>
            <a:off x="0" y="2"/>
            <a:ext cx="5638800" cy="6878000"/>
          </a:xfrm>
          <a:prstGeom prst="rect">
            <a:avLst/>
          </a:prstGeom>
          <a:solidFill>
            <a:srgbClr val="82C65C"/>
          </a:solidFill>
          <a:ln>
            <a:noFill/>
          </a:ln>
        </p:spPr>
      </p:pic>
      <p:sp>
        <p:nvSpPr>
          <p:cNvPr id="624" name="Google Shape;624;p79"/>
          <p:cNvSpPr txBox="1"/>
          <p:nvPr/>
        </p:nvSpPr>
        <p:spPr>
          <a:xfrm>
            <a:off x="7207927" y="1840977"/>
            <a:ext cx="3329200" cy="23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91181" rIns="91181" bIns="91181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i="1"/>
              <a:t>Copy your graphic over this white space</a:t>
            </a:r>
            <a:endParaRPr sz="2400" i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FF0000"/>
                </a:solidFill>
              </a:rPr>
              <a:t>Note: bottom footer will “disappear” when you do this</a:t>
            </a:r>
            <a:endParaRPr sz="1500">
              <a:solidFill>
                <a:srgbClr val="FF0000"/>
              </a:solidFill>
            </a:endParaRPr>
          </a:p>
        </p:txBody>
      </p:sp>
      <p:pic>
        <p:nvPicPr>
          <p:cNvPr id="625" name="Google Shape;625;p79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9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7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Google Shape;627;p7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8" name="Google Shape;628;p7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9" name="Google Shape;629;p7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9"/>
          <p:cNvCxnSpPr/>
          <p:nvPr/>
        </p:nvCxnSpPr>
        <p:spPr>
          <a:xfrm>
            <a:off x="469844" y="1419609"/>
            <a:ext cx="4414400" cy="0"/>
          </a:xfrm>
          <a:prstGeom prst="straightConnector1">
            <a:avLst/>
          </a:prstGeom>
          <a:noFill/>
          <a:ln w="25400" cap="sq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sp>
        <p:nvSpPr>
          <p:cNvPr id="631" name="Google Shape;631;p79"/>
          <p:cNvSpPr txBox="1">
            <a:spLocks noGrp="1"/>
          </p:cNvSpPr>
          <p:nvPr>
            <p:ph type="title"/>
          </p:nvPr>
        </p:nvSpPr>
        <p:spPr>
          <a:xfrm>
            <a:off x="338839" y="1926876"/>
            <a:ext cx="4847600" cy="259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79"/>
          <p:cNvSpPr txBox="1">
            <a:spLocks noGrp="1"/>
          </p:cNvSpPr>
          <p:nvPr>
            <p:ph type="subTitle" idx="1"/>
          </p:nvPr>
        </p:nvSpPr>
        <p:spPr>
          <a:xfrm>
            <a:off x="395503" y="1545276"/>
            <a:ext cx="48476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Image Paste">
  <p:cSld name="Horizontal Image_1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88"/>
          <p:cNvSpPr txBox="1"/>
          <p:nvPr/>
        </p:nvSpPr>
        <p:spPr>
          <a:xfrm>
            <a:off x="606133" y="1787975"/>
            <a:ext cx="10922400" cy="2860000"/>
          </a:xfrm>
          <a:prstGeom prst="rect">
            <a:avLst/>
          </a:prstGeom>
          <a:noFill/>
          <a:ln w="9525" cap="flat" cmpd="sng">
            <a:solidFill>
              <a:srgbClr val="EFEFE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500">
                <a:solidFill>
                  <a:srgbClr val="D9D9D9"/>
                </a:solidFill>
              </a:rPr>
              <a:t>Paste picture here</a:t>
            </a:r>
            <a:endParaRPr sz="1500">
              <a:solidFill>
                <a:srgbClr val="D9D9D9"/>
              </a:solidFill>
            </a:endParaRPr>
          </a:p>
        </p:txBody>
      </p:sp>
      <p:sp>
        <p:nvSpPr>
          <p:cNvPr id="725" name="Google Shape;725;p8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26" name="Google Shape;726;p88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27" name="Google Shape;727;p8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8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29" name="Google Shape;729;p8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0" name="Google Shape;730;p8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31" name="Google Shape;731;p8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32" name="Google Shape;732;p88"/>
          <p:cNvSpPr/>
          <p:nvPr/>
        </p:nvSpPr>
        <p:spPr>
          <a:xfrm>
            <a:off x="8075477" y="1789825"/>
            <a:ext cx="2936400" cy="28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3" name="Google Shape;733;p88"/>
          <p:cNvSpPr txBox="1">
            <a:spLocks noGrp="1"/>
          </p:cNvSpPr>
          <p:nvPr>
            <p:ph type="title" idx="2"/>
          </p:nvPr>
        </p:nvSpPr>
        <p:spPr>
          <a:xfrm>
            <a:off x="1405641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4" name="Google Shape;734;p88"/>
          <p:cNvSpPr txBox="1">
            <a:spLocks noGrp="1"/>
          </p:cNvSpPr>
          <p:nvPr>
            <p:ph type="subTitle" idx="3"/>
          </p:nvPr>
        </p:nvSpPr>
        <p:spPr>
          <a:xfrm>
            <a:off x="1405641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5" name="Google Shape;735;p88"/>
          <p:cNvSpPr txBox="1">
            <a:spLocks noGrp="1"/>
          </p:cNvSpPr>
          <p:nvPr>
            <p:ph type="title" idx="4"/>
          </p:nvPr>
        </p:nvSpPr>
        <p:spPr>
          <a:xfrm>
            <a:off x="4225776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6" name="Google Shape;736;p88"/>
          <p:cNvSpPr txBox="1">
            <a:spLocks noGrp="1"/>
          </p:cNvSpPr>
          <p:nvPr>
            <p:ph type="subTitle" idx="5"/>
          </p:nvPr>
        </p:nvSpPr>
        <p:spPr>
          <a:xfrm>
            <a:off x="4225776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7" name="Google Shape;737;p88"/>
          <p:cNvSpPr txBox="1">
            <a:spLocks noGrp="1"/>
          </p:cNvSpPr>
          <p:nvPr>
            <p:ph type="title" idx="6"/>
          </p:nvPr>
        </p:nvSpPr>
        <p:spPr>
          <a:xfrm>
            <a:off x="7045909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38" name="Google Shape;738;p88"/>
          <p:cNvSpPr txBox="1">
            <a:spLocks noGrp="1"/>
          </p:cNvSpPr>
          <p:nvPr>
            <p:ph type="subTitle" idx="7"/>
          </p:nvPr>
        </p:nvSpPr>
        <p:spPr>
          <a:xfrm>
            <a:off x="7045909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39" name="Google Shape;739;p88"/>
          <p:cNvSpPr txBox="1">
            <a:spLocks noGrp="1"/>
          </p:cNvSpPr>
          <p:nvPr>
            <p:ph type="title" idx="8"/>
          </p:nvPr>
        </p:nvSpPr>
        <p:spPr>
          <a:xfrm>
            <a:off x="9866044" y="4988375"/>
            <a:ext cx="1872800" cy="615601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40" name="Google Shape;740;p88"/>
          <p:cNvSpPr txBox="1">
            <a:spLocks noGrp="1"/>
          </p:cNvSpPr>
          <p:nvPr>
            <p:ph type="subTitle" idx="9"/>
          </p:nvPr>
        </p:nvSpPr>
        <p:spPr>
          <a:xfrm>
            <a:off x="9866044" y="5603902"/>
            <a:ext cx="18728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41" name="Google Shape;741;p88"/>
          <p:cNvSpPr txBox="1">
            <a:spLocks noGrp="1"/>
          </p:cNvSpPr>
          <p:nvPr>
            <p:ph type="subTitle" idx="13"/>
          </p:nvPr>
        </p:nvSpPr>
        <p:spPr>
          <a:xfrm>
            <a:off x="8172103" y="2698874"/>
            <a:ext cx="1681200" cy="187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Custom 3 Image, Text"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3" name="Google Shape;743;p8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744" name="Google Shape;744;p8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45" name="Google Shape;745;p8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6" name="Google Shape;746;p8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47" name="Google Shape;747;p8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48" name="Google Shape;748;p8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pictures">
  <p:cSld name="Custom 3 Image, Text_1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90"/>
          <p:cNvSpPr/>
          <p:nvPr/>
        </p:nvSpPr>
        <p:spPr>
          <a:xfrm>
            <a:off x="657871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1" name="Google Shape;751;p90"/>
          <p:cNvSpPr/>
          <p:nvPr/>
        </p:nvSpPr>
        <p:spPr>
          <a:xfrm>
            <a:off x="4324764" y="2268853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2" name="Google Shape;752;p90"/>
          <p:cNvSpPr/>
          <p:nvPr/>
        </p:nvSpPr>
        <p:spPr>
          <a:xfrm>
            <a:off x="7983316" y="2263551"/>
            <a:ext cx="3562800" cy="288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/>
          </a:p>
        </p:txBody>
      </p:sp>
      <p:sp>
        <p:nvSpPr>
          <p:cNvPr id="753" name="Google Shape;753;p90"/>
          <p:cNvSpPr/>
          <p:nvPr/>
        </p:nvSpPr>
        <p:spPr>
          <a:xfrm>
            <a:off x="666224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4" name="Google Shape;754;p9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55" name="Google Shape;755;p9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756" name="Google Shape;756;p9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8" name="Google Shape;758;p9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9" name="Google Shape;759;p9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0" name="Google Shape;760;p9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1" name="Google Shape;761;p90"/>
          <p:cNvSpPr txBox="1">
            <a:spLocks noGrp="1"/>
          </p:cNvSpPr>
          <p:nvPr>
            <p:ph type="subTitle" idx="2"/>
          </p:nvPr>
        </p:nvSpPr>
        <p:spPr>
          <a:xfrm>
            <a:off x="657871" y="48429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2" name="Google Shape;762;p90"/>
          <p:cNvSpPr/>
          <p:nvPr/>
        </p:nvSpPr>
        <p:spPr>
          <a:xfrm>
            <a:off x="4320600" y="48270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3" name="Google Shape;763;p90"/>
          <p:cNvSpPr txBox="1">
            <a:spLocks noGrp="1"/>
          </p:cNvSpPr>
          <p:nvPr>
            <p:ph type="subTitle" idx="3"/>
          </p:nvPr>
        </p:nvSpPr>
        <p:spPr>
          <a:xfrm>
            <a:off x="4320600" y="4837651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64" name="Google Shape;764;p90"/>
          <p:cNvSpPr/>
          <p:nvPr/>
        </p:nvSpPr>
        <p:spPr>
          <a:xfrm>
            <a:off x="7983329" y="4832352"/>
            <a:ext cx="3562800" cy="325999"/>
          </a:xfrm>
          <a:prstGeom prst="rect">
            <a:avLst/>
          </a:prstGeom>
          <a:solidFill>
            <a:srgbClr val="6EBE49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5" name="Google Shape;765;p90"/>
          <p:cNvSpPr txBox="1">
            <a:spLocks noGrp="1"/>
          </p:cNvSpPr>
          <p:nvPr>
            <p:ph type="subTitle" idx="4"/>
          </p:nvPr>
        </p:nvSpPr>
        <p:spPr>
          <a:xfrm>
            <a:off x="7983329" y="4832352"/>
            <a:ext cx="3562800" cy="32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1">
  <p:cSld name="Product Layou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7" name="Google Shape;767;p91"/>
          <p:cNvPicPr preferRelativeResize="0"/>
          <p:nvPr/>
        </p:nvPicPr>
        <p:blipFill rotWithShape="1">
          <a:blip r:embed="rId2">
            <a:alphaModFix/>
          </a:blip>
          <a:srcRect t="50068" b="15472"/>
          <a:stretch/>
        </p:blipFill>
        <p:spPr>
          <a:xfrm>
            <a:off x="-1600" y="-25"/>
            <a:ext cx="12195200" cy="4201200"/>
          </a:xfrm>
          <a:prstGeom prst="rect">
            <a:avLst/>
          </a:prstGeom>
          <a:noFill/>
          <a:ln>
            <a:noFill/>
          </a:ln>
        </p:spPr>
      </p:pic>
      <p:sp>
        <p:nvSpPr>
          <p:cNvPr id="768" name="Google Shape;768;p9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769" name="Google Shape;769;p91"/>
          <p:cNvSpPr/>
          <p:nvPr/>
        </p:nvSpPr>
        <p:spPr>
          <a:xfrm>
            <a:off x="791473" y="2042651"/>
            <a:ext cx="1434000" cy="1433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91"/>
          <p:cNvSpPr/>
          <p:nvPr/>
        </p:nvSpPr>
        <p:spPr>
          <a:xfrm>
            <a:off x="3081300" y="2030352"/>
            <a:ext cx="1446400" cy="1446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1" name="Google Shape;771;p91"/>
          <p:cNvSpPr/>
          <p:nvPr/>
        </p:nvSpPr>
        <p:spPr>
          <a:xfrm>
            <a:off x="5394389" y="2076550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2" name="Google Shape;772;p91"/>
          <p:cNvSpPr/>
          <p:nvPr/>
        </p:nvSpPr>
        <p:spPr>
          <a:xfrm>
            <a:off x="7662692" y="2062451"/>
            <a:ext cx="1414400" cy="14140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3" name="Google Shape;773;p91"/>
          <p:cNvSpPr/>
          <p:nvPr/>
        </p:nvSpPr>
        <p:spPr>
          <a:xfrm>
            <a:off x="9991507" y="2076851"/>
            <a:ext cx="1400000" cy="13996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4" name="Google Shape;774;p91"/>
          <p:cNvSpPr/>
          <p:nvPr/>
        </p:nvSpPr>
        <p:spPr>
          <a:xfrm>
            <a:off x="11912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91"/>
          <p:cNvSpPr/>
          <p:nvPr/>
        </p:nvSpPr>
        <p:spPr>
          <a:xfrm>
            <a:off x="3487124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6" name="Google Shape;776;p91"/>
          <p:cNvSpPr/>
          <p:nvPr/>
        </p:nvSpPr>
        <p:spPr>
          <a:xfrm>
            <a:off x="5777119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7" name="Google Shape;777;p91"/>
          <p:cNvSpPr/>
          <p:nvPr/>
        </p:nvSpPr>
        <p:spPr>
          <a:xfrm>
            <a:off x="8052597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91"/>
          <p:cNvSpPr/>
          <p:nvPr/>
        </p:nvSpPr>
        <p:spPr>
          <a:xfrm>
            <a:off x="10374112" y="3805583"/>
            <a:ext cx="634800" cy="634401"/>
          </a:xfrm>
          <a:prstGeom prst="ellipse">
            <a:avLst/>
          </a:prstGeom>
          <a:solidFill>
            <a:schemeClr val="dk1"/>
          </a:solidFill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1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79" name="Google Shape;779;p91"/>
          <p:cNvCxnSpPr/>
          <p:nvPr/>
        </p:nvCxnSpPr>
        <p:spPr>
          <a:xfrm>
            <a:off x="1508517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0" name="Google Shape;780;p91"/>
          <p:cNvCxnSpPr/>
          <p:nvPr/>
        </p:nvCxnSpPr>
        <p:spPr>
          <a:xfrm>
            <a:off x="3801465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1" name="Google Shape;781;p91"/>
          <p:cNvCxnSpPr/>
          <p:nvPr/>
        </p:nvCxnSpPr>
        <p:spPr>
          <a:xfrm>
            <a:off x="6107116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2" name="Google Shape;782;p91"/>
          <p:cNvCxnSpPr/>
          <p:nvPr/>
        </p:nvCxnSpPr>
        <p:spPr>
          <a:xfrm>
            <a:off x="8365128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3" name="Google Shape;783;p91"/>
          <p:cNvCxnSpPr/>
          <p:nvPr/>
        </p:nvCxnSpPr>
        <p:spPr>
          <a:xfrm>
            <a:off x="10688019" y="3536961"/>
            <a:ext cx="0" cy="206400"/>
          </a:xfrm>
          <a:prstGeom prst="straightConnector1">
            <a:avLst/>
          </a:prstGeom>
          <a:noFill/>
          <a:ln w="38100" cap="rnd" cmpd="sng">
            <a:solidFill>
              <a:schemeClr val="lt1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4" name="Google Shape;784;p91"/>
          <p:cNvCxnSpPr/>
          <p:nvPr/>
        </p:nvCxnSpPr>
        <p:spPr>
          <a:xfrm>
            <a:off x="5190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5" name="Google Shape;785;p91"/>
          <p:cNvCxnSpPr/>
          <p:nvPr/>
        </p:nvCxnSpPr>
        <p:spPr>
          <a:xfrm>
            <a:off x="2814925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6" name="Google Shape;786;p91"/>
          <p:cNvCxnSpPr/>
          <p:nvPr/>
        </p:nvCxnSpPr>
        <p:spPr>
          <a:xfrm>
            <a:off x="510491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7" name="Google Shape;787;p91"/>
          <p:cNvCxnSpPr/>
          <p:nvPr/>
        </p:nvCxnSpPr>
        <p:spPr>
          <a:xfrm>
            <a:off x="7380399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cxnSp>
        <p:nvCxnSpPr>
          <p:cNvPr id="788" name="Google Shape;788;p91"/>
          <p:cNvCxnSpPr/>
          <p:nvPr/>
        </p:nvCxnSpPr>
        <p:spPr>
          <a:xfrm>
            <a:off x="9701913" y="4674026"/>
            <a:ext cx="1978800" cy="0"/>
          </a:xfrm>
          <a:prstGeom prst="straightConnector1">
            <a:avLst/>
          </a:prstGeom>
          <a:noFill/>
          <a:ln w="19050" cap="sq" cmpd="sng">
            <a:solidFill>
              <a:schemeClr val="dk2"/>
            </a:solidFill>
            <a:prstDash val="solid"/>
            <a:round/>
            <a:headEnd type="none" w="med" len="med"/>
            <a:tailEnd type="none" w="sm" len="sm"/>
          </a:ln>
        </p:spPr>
      </p:cxnSp>
      <p:pic>
        <p:nvPicPr>
          <p:cNvPr id="789" name="Google Shape;789;p91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9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1" name="Google Shape;791;p9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2" name="Google Shape;792;p9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3" name="Google Shape;793;p9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94" name="Google Shape;794;p91"/>
          <p:cNvSpPr txBox="1"/>
          <p:nvPr/>
        </p:nvSpPr>
        <p:spPr>
          <a:xfrm>
            <a:off x="632840" y="6478826"/>
            <a:ext cx="77256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dk2"/>
                </a:solidFill>
              </a:rPr>
              <a:t>Source/Footnote:</a:t>
            </a:r>
            <a:endParaRPr sz="900">
              <a:solidFill>
                <a:schemeClr val="dk2"/>
              </a:solidFill>
            </a:endParaRPr>
          </a:p>
        </p:txBody>
      </p:sp>
      <p:sp>
        <p:nvSpPr>
          <p:cNvPr id="795" name="Google Shape;795;p91"/>
          <p:cNvSpPr txBox="1">
            <a:spLocks noGrp="1"/>
          </p:cNvSpPr>
          <p:nvPr>
            <p:ph type="title" idx="2"/>
          </p:nvPr>
        </p:nvSpPr>
        <p:spPr>
          <a:xfrm>
            <a:off x="434313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6" name="Google Shape;796;p91"/>
          <p:cNvSpPr txBox="1">
            <a:spLocks noGrp="1"/>
          </p:cNvSpPr>
          <p:nvPr>
            <p:ph type="subTitle" idx="1"/>
          </p:nvPr>
        </p:nvSpPr>
        <p:spPr>
          <a:xfrm>
            <a:off x="434313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7" name="Google Shape;797;p91"/>
          <p:cNvSpPr txBox="1">
            <a:spLocks noGrp="1"/>
          </p:cNvSpPr>
          <p:nvPr>
            <p:ph type="title" idx="3"/>
          </p:nvPr>
        </p:nvSpPr>
        <p:spPr>
          <a:xfrm>
            <a:off x="2725685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798" name="Google Shape;798;p91"/>
          <p:cNvSpPr txBox="1">
            <a:spLocks noGrp="1"/>
          </p:cNvSpPr>
          <p:nvPr>
            <p:ph type="subTitle" idx="4"/>
          </p:nvPr>
        </p:nvSpPr>
        <p:spPr>
          <a:xfrm>
            <a:off x="2725685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799" name="Google Shape;799;p91"/>
          <p:cNvSpPr txBox="1">
            <a:spLocks noGrp="1"/>
          </p:cNvSpPr>
          <p:nvPr>
            <p:ph type="title" idx="5"/>
          </p:nvPr>
        </p:nvSpPr>
        <p:spPr>
          <a:xfrm>
            <a:off x="5026447" y="4669775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ubTitle" idx="6"/>
          </p:nvPr>
        </p:nvSpPr>
        <p:spPr>
          <a:xfrm>
            <a:off x="5026447" y="4993800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1" name="Google Shape;801;p91"/>
          <p:cNvSpPr txBox="1">
            <a:spLocks noGrp="1"/>
          </p:cNvSpPr>
          <p:nvPr>
            <p:ph type="title" idx="7"/>
          </p:nvPr>
        </p:nvSpPr>
        <p:spPr>
          <a:xfrm>
            <a:off x="7317819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2" name="Google Shape;802;p91"/>
          <p:cNvSpPr txBox="1">
            <a:spLocks noGrp="1"/>
          </p:cNvSpPr>
          <p:nvPr>
            <p:ph type="subTitle" idx="8"/>
          </p:nvPr>
        </p:nvSpPr>
        <p:spPr>
          <a:xfrm>
            <a:off x="7317819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3" name="Google Shape;803;p91"/>
          <p:cNvSpPr txBox="1">
            <a:spLocks noGrp="1"/>
          </p:cNvSpPr>
          <p:nvPr>
            <p:ph type="title" idx="9"/>
          </p:nvPr>
        </p:nvSpPr>
        <p:spPr>
          <a:xfrm>
            <a:off x="9655877" y="4674026"/>
            <a:ext cx="2151600" cy="274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04" name="Google Shape;804;p91"/>
          <p:cNvSpPr txBox="1">
            <a:spLocks noGrp="1"/>
          </p:cNvSpPr>
          <p:nvPr>
            <p:ph type="subTitle" idx="13"/>
          </p:nvPr>
        </p:nvSpPr>
        <p:spPr>
          <a:xfrm>
            <a:off x="9655877" y="4998051"/>
            <a:ext cx="1979200" cy="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805" name="Google Shape;805;p91"/>
          <p:cNvSpPr txBox="1">
            <a:spLocks noGrp="1"/>
          </p:cNvSpPr>
          <p:nvPr>
            <p:ph type="subTitle" idx="14"/>
          </p:nvPr>
        </p:nvSpPr>
        <p:spPr>
          <a:xfrm>
            <a:off x="614511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6" name="Google Shape;806;p91"/>
          <p:cNvSpPr txBox="1">
            <a:spLocks noGrp="1"/>
          </p:cNvSpPr>
          <p:nvPr>
            <p:ph type="subTitle" idx="15"/>
          </p:nvPr>
        </p:nvSpPr>
        <p:spPr>
          <a:xfrm>
            <a:off x="291545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7" name="Google Shape;807;p91"/>
          <p:cNvSpPr txBox="1">
            <a:spLocks noGrp="1"/>
          </p:cNvSpPr>
          <p:nvPr>
            <p:ph type="subTitle" idx="16"/>
          </p:nvPr>
        </p:nvSpPr>
        <p:spPr>
          <a:xfrm>
            <a:off x="5198829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8" name="Google Shape;808;p91"/>
          <p:cNvSpPr txBox="1">
            <a:spLocks noGrp="1"/>
          </p:cNvSpPr>
          <p:nvPr>
            <p:ph type="subTitle" idx="17"/>
          </p:nvPr>
        </p:nvSpPr>
        <p:spPr>
          <a:xfrm>
            <a:off x="746839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09" name="Google Shape;809;p91"/>
          <p:cNvSpPr txBox="1">
            <a:spLocks noGrp="1"/>
          </p:cNvSpPr>
          <p:nvPr>
            <p:ph type="subTitle" idx="18"/>
          </p:nvPr>
        </p:nvSpPr>
        <p:spPr>
          <a:xfrm>
            <a:off x="9792425" y="1493953"/>
            <a:ext cx="1791200" cy="3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duct Layout 2">
  <p:cSld name="Product Layout 2">
    <p:spTree>
      <p:nvGrpSpPr>
        <p:cNvPr id="1" name="Shape 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Google Shape;811;p92"/>
          <p:cNvSpPr/>
          <p:nvPr/>
        </p:nvSpPr>
        <p:spPr>
          <a:xfrm>
            <a:off x="8714580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2" name="Google Shape;812;p92"/>
          <p:cNvSpPr/>
          <p:nvPr/>
        </p:nvSpPr>
        <p:spPr>
          <a:xfrm>
            <a:off x="4934985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Google Shape;813;p92"/>
          <p:cNvSpPr/>
          <p:nvPr/>
        </p:nvSpPr>
        <p:spPr>
          <a:xfrm>
            <a:off x="1155573" y="2307369"/>
            <a:ext cx="2380000" cy="23791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9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15" name="Google Shape;815;p9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16" name="Google Shape;816;p9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17" name="Google Shape;817;p9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8" name="Google Shape;818;p9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9" name="Google Shape;819;p9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0" name="Google Shape;820;p9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1" name="Google Shape;821;p92"/>
          <p:cNvSpPr txBox="1">
            <a:spLocks noGrp="1"/>
          </p:cNvSpPr>
          <p:nvPr>
            <p:ph type="title" idx="2"/>
          </p:nvPr>
        </p:nvSpPr>
        <p:spPr>
          <a:xfrm>
            <a:off x="4435905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2" name="Google Shape;822;p92"/>
          <p:cNvSpPr txBox="1">
            <a:spLocks noGrp="1"/>
          </p:cNvSpPr>
          <p:nvPr>
            <p:ph type="title" idx="3"/>
          </p:nvPr>
        </p:nvSpPr>
        <p:spPr>
          <a:xfrm>
            <a:off x="4435893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3" name="Google Shape;823;p92"/>
          <p:cNvSpPr txBox="1">
            <a:spLocks noGrp="1"/>
          </p:cNvSpPr>
          <p:nvPr>
            <p:ph type="title" idx="4"/>
          </p:nvPr>
        </p:nvSpPr>
        <p:spPr>
          <a:xfrm>
            <a:off x="651320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92"/>
          <p:cNvSpPr txBox="1">
            <a:spLocks noGrp="1"/>
          </p:cNvSpPr>
          <p:nvPr>
            <p:ph type="title" idx="5"/>
          </p:nvPr>
        </p:nvSpPr>
        <p:spPr>
          <a:xfrm>
            <a:off x="651307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5" name="Google Shape;825;p92"/>
          <p:cNvSpPr txBox="1">
            <a:spLocks noGrp="1"/>
          </p:cNvSpPr>
          <p:nvPr>
            <p:ph type="title" idx="6"/>
          </p:nvPr>
        </p:nvSpPr>
        <p:spPr>
          <a:xfrm>
            <a:off x="8220491" y="4829353"/>
            <a:ext cx="3388400" cy="3900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900" b="1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Google Shape;826;p92"/>
          <p:cNvSpPr txBox="1">
            <a:spLocks noGrp="1"/>
          </p:cNvSpPr>
          <p:nvPr>
            <p:ph type="title" idx="7"/>
          </p:nvPr>
        </p:nvSpPr>
        <p:spPr>
          <a:xfrm>
            <a:off x="8220479" y="5245699"/>
            <a:ext cx="3388400" cy="5592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olumn, Data ">
  <p:cSld name="3-Column, Data ">
    <p:spTree>
      <p:nvGrpSpPr>
        <p:cNvPr id="1" name="Shape 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Google Shape;828;p93"/>
          <p:cNvSpPr txBox="1">
            <a:spLocks noGrp="1"/>
          </p:cNvSpPr>
          <p:nvPr>
            <p:ph type="subTitle" idx="1"/>
          </p:nvPr>
        </p:nvSpPr>
        <p:spPr>
          <a:xfrm>
            <a:off x="675576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29" name="Google Shape;829;p93"/>
          <p:cNvSpPr/>
          <p:nvPr/>
        </p:nvSpPr>
        <p:spPr>
          <a:xfrm>
            <a:off x="659340" y="1817648"/>
            <a:ext cx="3184000" cy="3044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0" name="Google Shape;830;p93"/>
          <p:cNvSpPr/>
          <p:nvPr/>
        </p:nvSpPr>
        <p:spPr>
          <a:xfrm>
            <a:off x="4362192" y="1817648"/>
            <a:ext cx="3184000" cy="304439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1" name="Google Shape;831;p93"/>
          <p:cNvSpPr/>
          <p:nvPr/>
        </p:nvSpPr>
        <p:spPr>
          <a:xfrm>
            <a:off x="8065055" y="1817648"/>
            <a:ext cx="3184000" cy="30443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2" name="Google Shape;832;p9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33" name="Google Shape;833;p93"/>
          <p:cNvSpPr txBox="1">
            <a:spLocks noGrp="1"/>
          </p:cNvSpPr>
          <p:nvPr>
            <p:ph type="subTitle" idx="2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34" name="Google Shape;834;p93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5" name="Google Shape;835;p9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6" name="Google Shape;836;p9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7" name="Google Shape;837;p9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8" name="Google Shape;838;p9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39" name="Google Shape;839;p93"/>
          <p:cNvSpPr txBox="1">
            <a:spLocks noGrp="1"/>
          </p:cNvSpPr>
          <p:nvPr>
            <p:ph type="subTitle" idx="3"/>
          </p:nvPr>
        </p:nvSpPr>
        <p:spPr>
          <a:xfrm>
            <a:off x="675576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0" name="Google Shape;840;p93"/>
          <p:cNvSpPr txBox="1">
            <a:spLocks noGrp="1"/>
          </p:cNvSpPr>
          <p:nvPr>
            <p:ph type="subTitle" idx="4"/>
          </p:nvPr>
        </p:nvSpPr>
        <p:spPr>
          <a:xfrm>
            <a:off x="4370300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1" name="Google Shape;841;p93"/>
          <p:cNvSpPr txBox="1">
            <a:spLocks noGrp="1"/>
          </p:cNvSpPr>
          <p:nvPr>
            <p:ph type="subTitle" idx="5"/>
          </p:nvPr>
        </p:nvSpPr>
        <p:spPr>
          <a:xfrm>
            <a:off x="4370300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2" name="Google Shape;842;p93"/>
          <p:cNvSpPr txBox="1">
            <a:spLocks noGrp="1"/>
          </p:cNvSpPr>
          <p:nvPr>
            <p:ph type="subTitle" idx="6"/>
          </p:nvPr>
        </p:nvSpPr>
        <p:spPr>
          <a:xfrm>
            <a:off x="8065013" y="5001277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43" name="Google Shape;843;p93"/>
          <p:cNvSpPr txBox="1">
            <a:spLocks noGrp="1"/>
          </p:cNvSpPr>
          <p:nvPr>
            <p:ph type="subTitle" idx="7"/>
          </p:nvPr>
        </p:nvSpPr>
        <p:spPr>
          <a:xfrm>
            <a:off x="8065013" y="2027251"/>
            <a:ext cx="3167600" cy="7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-Column Data">
  <p:cSld name="2-Column Data">
    <p:spTree>
      <p:nvGrpSpPr>
        <p:cNvPr id="1" name="Shape 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Google Shape;845;p94"/>
          <p:cNvSpPr/>
          <p:nvPr/>
        </p:nvSpPr>
        <p:spPr>
          <a:xfrm>
            <a:off x="4767975" y="1769809"/>
            <a:ext cx="7427200" cy="42611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6" name="Google Shape;846;p94"/>
          <p:cNvSpPr/>
          <p:nvPr/>
        </p:nvSpPr>
        <p:spPr>
          <a:xfrm>
            <a:off x="-1" y="1769809"/>
            <a:ext cx="4768000" cy="4261199"/>
          </a:xfrm>
          <a:prstGeom prst="rect">
            <a:avLst/>
          </a:prstGeom>
          <a:solidFill>
            <a:srgbClr val="6CC0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3200" b="0" i="0" u="none" strike="noStrike" cap="none">
              <a:solidFill>
                <a:srgbClr val="6EBE4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7" name="Google Shape;847;p94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48" name="Google Shape;848;p94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49" name="Google Shape;849;p94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50" name="Google Shape;850;p94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1" name="Google Shape;851;p94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2" name="Google Shape;852;p94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53" name="Google Shape;853;p94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54" name="Google Shape;854;p94"/>
          <p:cNvSpPr txBox="1">
            <a:spLocks noGrp="1"/>
          </p:cNvSpPr>
          <p:nvPr>
            <p:ph type="subTitle" idx="2"/>
          </p:nvPr>
        </p:nvSpPr>
        <p:spPr>
          <a:xfrm>
            <a:off x="551572" y="2013652"/>
            <a:ext cx="3964800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55" name="Google Shape;855;p94"/>
          <p:cNvSpPr txBox="1">
            <a:spLocks noGrp="1"/>
          </p:cNvSpPr>
          <p:nvPr>
            <p:ph type="body" idx="3"/>
          </p:nvPr>
        </p:nvSpPr>
        <p:spPr>
          <a:xfrm>
            <a:off x="5120108" y="2132451"/>
            <a:ext cx="6709200" cy="3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>
  <p:cSld name="2 Column w/ Green Bar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" name="Google Shape;857;p95"/>
          <p:cNvPicPr preferRelativeResize="0"/>
          <p:nvPr/>
        </p:nvPicPr>
        <p:blipFill rotWithShape="1">
          <a:blip r:embed="rId2">
            <a:alphaModFix/>
          </a:blip>
          <a:srcRect t="78871" b="15471"/>
          <a:stretch/>
        </p:blipFill>
        <p:spPr>
          <a:xfrm>
            <a:off x="-1588" y="6168302"/>
            <a:ext cx="12195200" cy="689600"/>
          </a:xfrm>
          <a:prstGeom prst="rect">
            <a:avLst/>
          </a:prstGeom>
          <a:noFill/>
          <a:ln>
            <a:noFill/>
          </a:ln>
        </p:spPr>
      </p:pic>
      <p:sp>
        <p:nvSpPr>
          <p:cNvPr id="858" name="Google Shape;858;p95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59" name="Google Shape;859;p95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60" name="Google Shape;860;p95"/>
          <p:cNvSpPr txBox="1">
            <a:spLocks noGrp="1"/>
          </p:cNvSpPr>
          <p:nvPr>
            <p:ph type="subTitle" idx="2"/>
          </p:nvPr>
        </p:nvSpPr>
        <p:spPr>
          <a:xfrm>
            <a:off x="546317" y="1961476"/>
            <a:ext cx="541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1" name="Google Shape;861;p95"/>
          <p:cNvSpPr txBox="1">
            <a:spLocks noGrp="1"/>
          </p:cNvSpPr>
          <p:nvPr>
            <p:ph type="subTitle" idx="3"/>
          </p:nvPr>
        </p:nvSpPr>
        <p:spPr>
          <a:xfrm>
            <a:off x="6287137" y="1961476"/>
            <a:ext cx="5178000" cy="35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862" name="Google Shape;862;p95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3" name="Google Shape;863;p95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4" name="Google Shape;864;p95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65" name="Google Shape;865;p95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66" name="Google Shape;866;p9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6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  <p:sp>
        <p:nvSpPr>
          <p:cNvPr id="867" name="Google Shape;867;p95"/>
          <p:cNvSpPr txBox="1">
            <a:spLocks noGrp="1"/>
          </p:cNvSpPr>
          <p:nvPr>
            <p:ph type="subTitle" idx="4"/>
          </p:nvPr>
        </p:nvSpPr>
        <p:spPr>
          <a:xfrm>
            <a:off x="-1576" y="6168302"/>
            <a:ext cx="12195200" cy="6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 Heading">
  <p:cSld name="Custom Layout 1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96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870" name="Google Shape;870;p96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96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2" name="Google Shape;872;p96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3" name="Google Shape;873;p96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74" name="Google Shape;874;p96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75" name="Google Shape;875;p96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Body">
  <p:cSld name="Custom Layout 1_1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97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78" name="Google Shape;878;p97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79" name="Google Shape;879;p97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0" name="Google Shape;880;p97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1" name="Google Shape;881;p97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2" name="Google Shape;882;p97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83" name="Google Shape;883;p97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84" name="Google Shape;884;p97"/>
          <p:cNvSpPr txBox="1">
            <a:spLocks noGrp="1"/>
          </p:cNvSpPr>
          <p:nvPr>
            <p:ph type="body" idx="2"/>
          </p:nvPr>
        </p:nvSpPr>
        <p:spPr>
          <a:xfrm>
            <a:off x="546317" y="2016677"/>
            <a:ext cx="111936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20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20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bg>
      <p:bgPr>
        <a:solidFill>
          <a:schemeClr val="accent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2" name="Google Shape;642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924477" y="1543214"/>
            <a:ext cx="1214000" cy="107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Google Shape;643;p81"/>
          <p:cNvPicPr preferRelativeResize="0"/>
          <p:nvPr/>
        </p:nvPicPr>
        <p:blipFill rotWithShape="1">
          <a:blip r:embed="rId2">
            <a:alphaModFix amt="50000"/>
          </a:blip>
          <a:srcRect/>
          <a:stretch/>
        </p:blipFill>
        <p:spPr>
          <a:xfrm rot="10800000">
            <a:off x="10159983" y="3143143"/>
            <a:ext cx="1214000" cy="10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4" name="Google Shape;644;p8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5" name="Google Shape;645;p8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6" name="Google Shape;646;p8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181" tIns="45572" rIns="91181" bIns="45572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7" name="Google Shape;647;p8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48" name="Google Shape;648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38087" y="6403041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2Column">
  <p:cSld name="Custom Layout 1_1_2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Google Shape;886;p98"/>
          <p:cNvSpPr txBox="1">
            <a:spLocks noGrp="1"/>
          </p:cNvSpPr>
          <p:nvPr>
            <p:ph type="body" idx="1"/>
          </p:nvPr>
        </p:nvSpPr>
        <p:spPr>
          <a:xfrm>
            <a:off x="594854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7" name="Google Shape;887;p98"/>
          <p:cNvSpPr txBox="1">
            <a:spLocks noGrp="1"/>
          </p:cNvSpPr>
          <p:nvPr>
            <p:ph type="body" idx="2"/>
          </p:nvPr>
        </p:nvSpPr>
        <p:spPr>
          <a:xfrm>
            <a:off x="533389" y="1959201"/>
            <a:ext cx="4866400" cy="28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88" name="Google Shape;888;p98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89" name="Google Shape;889;p98"/>
          <p:cNvSpPr txBox="1">
            <a:spLocks noGrp="1"/>
          </p:cNvSpPr>
          <p:nvPr>
            <p:ph type="subTitle" idx="3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890" name="Google Shape;890;p98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98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2" name="Google Shape;892;p98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3" name="Google Shape;893;p98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4" name="Google Shape;894;p98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3Column">
  <p:cSld name="Custom Layout 1_1_2_1"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99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897" name="Google Shape;897;p99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898" name="Google Shape;898;p99"/>
          <p:cNvSpPr txBox="1">
            <a:spLocks noGrp="1"/>
          </p:cNvSpPr>
          <p:nvPr>
            <p:ph type="body" idx="2"/>
          </p:nvPr>
        </p:nvSpPr>
        <p:spPr>
          <a:xfrm>
            <a:off x="546317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899" name="Google Shape;899;p99"/>
          <p:cNvSpPr txBox="1">
            <a:spLocks noGrp="1"/>
          </p:cNvSpPr>
          <p:nvPr>
            <p:ph type="body" idx="3"/>
          </p:nvPr>
        </p:nvSpPr>
        <p:spPr>
          <a:xfrm>
            <a:off x="4390243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sp>
        <p:nvSpPr>
          <p:cNvPr id="900" name="Google Shape;900;p99"/>
          <p:cNvSpPr txBox="1">
            <a:spLocks noGrp="1"/>
          </p:cNvSpPr>
          <p:nvPr>
            <p:ph type="body" idx="4"/>
          </p:nvPr>
        </p:nvSpPr>
        <p:spPr>
          <a:xfrm>
            <a:off x="8234169" y="1959202"/>
            <a:ext cx="3364000" cy="41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2255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900"/>
            </a:lvl1pPr>
            <a:lvl2pPr marL="1216947" lvl="1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2pPr>
            <a:lvl3pPr marL="1825419" lvl="2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3pPr>
            <a:lvl4pPr marL="2433891" lvl="3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4pPr>
            <a:lvl5pPr marL="3042365" lvl="4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5pPr>
            <a:lvl6pPr marL="3650837" lvl="5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6pPr>
            <a:lvl7pPr marL="4259310" lvl="6" indent="-397196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500"/>
            </a:lvl7pPr>
            <a:lvl8pPr marL="4867782" lvl="7" indent="-397196" rtl="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500"/>
            </a:lvl8pPr>
            <a:lvl9pPr marL="5476255" lvl="8" indent="-397196" rtl="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500"/>
            </a:lvl9pPr>
          </a:lstStyle>
          <a:p>
            <a:endParaRPr/>
          </a:p>
        </p:txBody>
      </p:sp>
      <p:pic>
        <p:nvPicPr>
          <p:cNvPr id="901" name="Google Shape;901;p99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99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3" name="Google Shape;903;p99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4" name="Google Shape;904;p99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05" name="Google Shape;905;p99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 Heading_4Column">
  <p:cSld name="Custom Layout 1_1_2_1_1">
    <p:spTree>
      <p:nvGrpSpPr>
        <p:cNvPr id="1" name="Shape 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" name="Google Shape;907;p100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08" name="Google Shape;908;p100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pic>
        <p:nvPicPr>
          <p:cNvPr id="909" name="Google Shape;909;p100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0" name="Google Shape;910;p100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1" name="Google Shape;911;p100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2" name="Google Shape;912;p100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13" name="Google Shape;913;p100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14" name="Google Shape;914;p100"/>
          <p:cNvSpPr txBox="1">
            <a:spLocks noGrp="1"/>
          </p:cNvSpPr>
          <p:nvPr>
            <p:ph type="subTitle" idx="2"/>
          </p:nvPr>
        </p:nvSpPr>
        <p:spPr>
          <a:xfrm>
            <a:off x="54631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5" name="Google Shape;915;p100"/>
          <p:cNvSpPr txBox="1">
            <a:spLocks noGrp="1"/>
          </p:cNvSpPr>
          <p:nvPr>
            <p:ph type="subTitle" idx="3"/>
          </p:nvPr>
        </p:nvSpPr>
        <p:spPr>
          <a:xfrm>
            <a:off x="3453524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6" name="Google Shape;916;p100"/>
          <p:cNvSpPr txBox="1">
            <a:spLocks noGrp="1"/>
          </p:cNvSpPr>
          <p:nvPr>
            <p:ph type="subTitle" idx="4"/>
          </p:nvPr>
        </p:nvSpPr>
        <p:spPr>
          <a:xfrm>
            <a:off x="6287137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  <p:sp>
        <p:nvSpPr>
          <p:cNvPr id="917" name="Google Shape;917;p100"/>
          <p:cNvSpPr txBox="1">
            <a:spLocks noGrp="1"/>
          </p:cNvSpPr>
          <p:nvPr>
            <p:ph type="subTitle" idx="5"/>
          </p:nvPr>
        </p:nvSpPr>
        <p:spPr>
          <a:xfrm>
            <a:off x="9120751" y="1961474"/>
            <a:ext cx="2526400" cy="4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0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Body_Only">
  <p:cSld name="Custom Layout 1_1_1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1"/>
          <p:cNvSpPr txBox="1">
            <a:spLocks noGrp="1"/>
          </p:cNvSpPr>
          <p:nvPr>
            <p:ph type="body" idx="1"/>
          </p:nvPr>
        </p:nvSpPr>
        <p:spPr>
          <a:xfrm>
            <a:off x="533389" y="1961477"/>
            <a:ext cx="11193600" cy="4451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1pPr>
            <a:lvl2pPr marL="1216947" lvl="1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2pPr>
            <a:lvl3pPr marL="1825419" lvl="2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3pPr>
            <a:lvl4pPr marL="2433891" lvl="3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4pPr>
            <a:lvl5pPr marL="3042365" lvl="4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5pPr>
            <a:lvl6pPr marL="3650837" lvl="5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6pPr>
            <a:lvl7pPr marL="4259310" lvl="6" indent="-431002" rtl="0">
              <a:spcBef>
                <a:spcPts val="0"/>
              </a:spcBef>
              <a:spcAft>
                <a:spcPts val="0"/>
              </a:spcAft>
              <a:buSzPts val="1500"/>
              <a:buChar char="●"/>
              <a:defRPr sz="2000"/>
            </a:lvl7pPr>
            <a:lvl8pPr marL="4867782" lvl="7" indent="-431002" rtl="0">
              <a:spcBef>
                <a:spcPts val="0"/>
              </a:spcBef>
              <a:spcAft>
                <a:spcPts val="0"/>
              </a:spcAft>
              <a:buSzPts val="1500"/>
              <a:buChar char="○"/>
              <a:defRPr sz="2000"/>
            </a:lvl8pPr>
            <a:lvl9pPr marL="5476255" lvl="8" indent="-431002" rtl="0">
              <a:spcBef>
                <a:spcPts val="0"/>
              </a:spcBef>
              <a:spcAft>
                <a:spcPts val="0"/>
              </a:spcAft>
              <a:buSzPts val="1500"/>
              <a:buChar char="■"/>
              <a:defRPr sz="2000"/>
            </a:lvl9pPr>
          </a:lstStyle>
          <a:p>
            <a:endParaRPr/>
          </a:p>
        </p:txBody>
      </p:sp>
      <p:sp>
        <p:nvSpPr>
          <p:cNvPr id="920" name="Google Shape;920;p101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pic>
        <p:nvPicPr>
          <p:cNvPr id="921" name="Google Shape;921;p101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2" name="Google Shape;922;p101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3" name="Google Shape;923;p101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24" name="Google Shape;924;p101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5" name="Google Shape;925;p101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transition spd="med">
    <p:fade thruBlk="1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ubtitle_4Boxes">
  <p:cSld name="Custom Layout 1_1_1_1">
    <p:spTree>
      <p:nvGrpSpPr>
        <p:cNvPr id="1" name="Shape 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" name="Google Shape;927;p102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cxnSp>
        <p:nvCxnSpPr>
          <p:cNvPr id="928" name="Google Shape;928;p102"/>
          <p:cNvCxnSpPr/>
          <p:nvPr/>
        </p:nvCxnSpPr>
        <p:spPr>
          <a:xfrm>
            <a:off x="569111" y="17251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29" name="Google Shape;929;p102"/>
          <p:cNvSpPr txBox="1">
            <a:spLocks noGrp="1"/>
          </p:cNvSpPr>
          <p:nvPr>
            <p:ph type="subTitle" idx="1"/>
          </p:nvPr>
        </p:nvSpPr>
        <p:spPr>
          <a:xfrm>
            <a:off x="546317" y="945553"/>
            <a:ext cx="11180800" cy="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cxnSp>
        <p:nvCxnSpPr>
          <p:cNvPr id="930" name="Google Shape;930;p102"/>
          <p:cNvCxnSpPr/>
          <p:nvPr/>
        </p:nvCxnSpPr>
        <p:spPr>
          <a:xfrm>
            <a:off x="6189387" y="1742225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1" name="Google Shape;931;p102"/>
          <p:cNvCxnSpPr/>
          <p:nvPr/>
        </p:nvCxnSpPr>
        <p:spPr>
          <a:xfrm>
            <a:off x="549119" y="4011126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32" name="Google Shape;932;p102"/>
          <p:cNvCxnSpPr/>
          <p:nvPr/>
        </p:nvCxnSpPr>
        <p:spPr>
          <a:xfrm>
            <a:off x="6189387" y="4028224"/>
            <a:ext cx="5482800" cy="17200"/>
          </a:xfrm>
          <a:prstGeom prst="straightConnector1">
            <a:avLst/>
          </a:prstGeom>
          <a:noFill/>
          <a:ln w="38100" cap="flat" cmpd="sng">
            <a:solidFill>
              <a:srgbClr val="6EBE4A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33" name="Google Shape;933;p102" descr="sgicon_transparen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4" name="Google Shape;934;p102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5" name="Google Shape;935;p102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6" name="Google Shape;936;p102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37" name="Google Shape;937;p102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38" name="Google Shape;938;p102"/>
          <p:cNvSpPr txBox="1">
            <a:spLocks noGrp="1"/>
          </p:cNvSpPr>
          <p:nvPr>
            <p:ph type="body" idx="2"/>
          </p:nvPr>
        </p:nvSpPr>
        <p:spPr>
          <a:xfrm>
            <a:off x="492904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39" name="Google Shape;939;p102"/>
          <p:cNvSpPr txBox="1">
            <a:spLocks noGrp="1"/>
          </p:cNvSpPr>
          <p:nvPr>
            <p:ph type="subTitle" idx="3"/>
          </p:nvPr>
        </p:nvSpPr>
        <p:spPr>
          <a:xfrm>
            <a:off x="492904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0" name="Google Shape;940;p102"/>
          <p:cNvSpPr txBox="1">
            <a:spLocks noGrp="1"/>
          </p:cNvSpPr>
          <p:nvPr>
            <p:ph type="body" idx="4"/>
          </p:nvPr>
        </p:nvSpPr>
        <p:spPr>
          <a:xfrm>
            <a:off x="6113167" y="20943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1" name="Google Shape;941;p102"/>
          <p:cNvSpPr txBox="1">
            <a:spLocks noGrp="1"/>
          </p:cNvSpPr>
          <p:nvPr>
            <p:ph type="subTitle" idx="5"/>
          </p:nvPr>
        </p:nvSpPr>
        <p:spPr>
          <a:xfrm>
            <a:off x="6113167" y="1759325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2" name="Google Shape;942;p102"/>
          <p:cNvSpPr txBox="1">
            <a:spLocks noGrp="1"/>
          </p:cNvSpPr>
          <p:nvPr>
            <p:ph type="body" idx="6"/>
          </p:nvPr>
        </p:nvSpPr>
        <p:spPr>
          <a:xfrm>
            <a:off x="492904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3" name="Google Shape;943;p102"/>
          <p:cNvSpPr txBox="1">
            <a:spLocks noGrp="1"/>
          </p:cNvSpPr>
          <p:nvPr>
            <p:ph type="subTitle" idx="7"/>
          </p:nvPr>
        </p:nvSpPr>
        <p:spPr>
          <a:xfrm>
            <a:off x="492904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  <p:sp>
        <p:nvSpPr>
          <p:cNvPr id="944" name="Google Shape;944;p102"/>
          <p:cNvSpPr txBox="1">
            <a:spLocks noGrp="1"/>
          </p:cNvSpPr>
          <p:nvPr>
            <p:ph type="body" idx="8"/>
          </p:nvPr>
        </p:nvSpPr>
        <p:spPr>
          <a:xfrm>
            <a:off x="6113167" y="4363200"/>
            <a:ext cx="5538800" cy="1636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8474" lvl="0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1pPr>
            <a:lvl2pPr marL="1216947" lvl="1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2pPr>
            <a:lvl3pPr marL="1825419" lvl="2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3pPr>
            <a:lvl4pPr marL="2433891" lvl="3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4pPr>
            <a:lvl5pPr marL="3042365" lvl="4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5pPr>
            <a:lvl6pPr marL="3650837" lvl="5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6pPr>
            <a:lvl7pPr marL="4259310" lvl="6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●"/>
              <a:defRPr sz="1200">
                <a:solidFill>
                  <a:srgbClr val="999999"/>
                </a:solidFill>
              </a:defRPr>
            </a:lvl7pPr>
            <a:lvl8pPr marL="4867782" lvl="7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○"/>
              <a:defRPr sz="1200">
                <a:solidFill>
                  <a:srgbClr val="999999"/>
                </a:solidFill>
              </a:defRPr>
            </a:lvl8pPr>
            <a:lvl9pPr marL="5476255" lvl="8" indent="-380296" rtl="0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900"/>
              <a:buChar char="■"/>
              <a:defRPr sz="1200">
                <a:solidFill>
                  <a:srgbClr val="999999"/>
                </a:solidFill>
              </a:defRPr>
            </a:lvl9pPr>
          </a:lstStyle>
          <a:p>
            <a:endParaRPr/>
          </a:p>
        </p:txBody>
      </p:sp>
      <p:sp>
        <p:nvSpPr>
          <p:cNvPr id="945" name="Google Shape;945;p102"/>
          <p:cNvSpPr txBox="1">
            <a:spLocks noGrp="1"/>
          </p:cNvSpPr>
          <p:nvPr>
            <p:ph type="subTitle" idx="9"/>
          </p:nvPr>
        </p:nvSpPr>
        <p:spPr>
          <a:xfrm>
            <a:off x="6113167" y="4028226"/>
            <a:ext cx="5538800" cy="3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">
  <p:cSld name="Case Study 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103"/>
          <p:cNvSpPr/>
          <p:nvPr/>
        </p:nvSpPr>
        <p:spPr>
          <a:xfrm>
            <a:off x="7929785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103"/>
          <p:cNvSpPr txBox="1">
            <a:spLocks noGrp="1"/>
          </p:cNvSpPr>
          <p:nvPr>
            <p:ph type="subTitle" idx="1"/>
          </p:nvPr>
        </p:nvSpPr>
        <p:spPr>
          <a:xfrm>
            <a:off x="8070527" y="1382752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49" name="Google Shape;949;p103"/>
          <p:cNvSpPr/>
          <p:nvPr/>
        </p:nvSpPr>
        <p:spPr>
          <a:xfrm>
            <a:off x="445741" y="1256577"/>
            <a:ext cx="3742000" cy="3054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70000" y="0"/>
                </a:lnTo>
                <a:lnTo>
                  <a:pt x="70000" y="0"/>
                </a:lnTo>
                <a:lnTo>
                  <a:pt x="99999" y="0"/>
                </a:lnTo>
                <a:lnTo>
                  <a:pt x="120000" y="0"/>
                </a:lnTo>
                <a:lnTo>
                  <a:pt x="120000" y="70000"/>
                </a:lnTo>
                <a:lnTo>
                  <a:pt x="120000" y="70000"/>
                </a:lnTo>
                <a:lnTo>
                  <a:pt x="120000" y="100000"/>
                </a:lnTo>
                <a:lnTo>
                  <a:pt x="120000" y="119999"/>
                </a:lnTo>
                <a:lnTo>
                  <a:pt x="99999" y="119999"/>
                </a:lnTo>
                <a:lnTo>
                  <a:pt x="70000" y="119999"/>
                </a:lnTo>
                <a:lnTo>
                  <a:pt x="0" y="119999"/>
                </a:lnTo>
                <a:lnTo>
                  <a:pt x="0" y="100000"/>
                </a:lnTo>
                <a:lnTo>
                  <a:pt x="0" y="70000"/>
                </a:lnTo>
                <a:lnTo>
                  <a:pt x="0" y="70000"/>
                </a:lnTo>
                <a:lnTo>
                  <a:pt x="0" y="0"/>
                </a:lnTo>
                <a:close/>
              </a:path>
            </a:pathLst>
          </a:custGeom>
          <a:solidFill>
            <a:srgbClr val="6EBE4A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0" name="Google Shape;950;p103"/>
          <p:cNvSpPr txBox="1">
            <a:spLocks noGrp="1"/>
          </p:cNvSpPr>
          <p:nvPr>
            <p:ph type="subTitle" idx="2"/>
          </p:nvPr>
        </p:nvSpPr>
        <p:spPr>
          <a:xfrm>
            <a:off x="580727" y="3618251"/>
            <a:ext cx="198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1" name="Google Shape;951;p103"/>
          <p:cNvSpPr txBox="1">
            <a:spLocks noGrp="1"/>
          </p:cNvSpPr>
          <p:nvPr>
            <p:ph type="subTitle" idx="3"/>
          </p:nvPr>
        </p:nvSpPr>
        <p:spPr>
          <a:xfrm>
            <a:off x="580727" y="1821776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2" name="Google Shape;952;p103"/>
          <p:cNvSpPr txBox="1">
            <a:spLocks noGrp="1"/>
          </p:cNvSpPr>
          <p:nvPr>
            <p:ph type="subTitle" idx="4"/>
          </p:nvPr>
        </p:nvSpPr>
        <p:spPr>
          <a:xfrm>
            <a:off x="574349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3" name="Google Shape;953;p103"/>
          <p:cNvSpPr txBox="1">
            <a:spLocks noGrp="1"/>
          </p:cNvSpPr>
          <p:nvPr>
            <p:ph type="subTitle" idx="5"/>
          </p:nvPr>
        </p:nvSpPr>
        <p:spPr>
          <a:xfrm>
            <a:off x="574349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54" name="Google Shape;954;p103"/>
          <p:cNvSpPr/>
          <p:nvPr/>
        </p:nvSpPr>
        <p:spPr>
          <a:xfrm>
            <a:off x="4181189" y="1256575"/>
            <a:ext cx="3800000" cy="3044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265" tIns="91265" rIns="91265" bIns="9126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55" name="Google Shape;955;p103"/>
          <p:cNvCxnSpPr/>
          <p:nvPr/>
        </p:nvCxnSpPr>
        <p:spPr>
          <a:xfrm rot="10800000">
            <a:off x="4190193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6" name="Google Shape;956;p103"/>
          <p:cNvCxnSpPr/>
          <p:nvPr/>
        </p:nvCxnSpPr>
        <p:spPr>
          <a:xfrm rot="10800000">
            <a:off x="7929785" y="4577883"/>
            <a:ext cx="0" cy="151840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957" name="Google Shape;957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 rot="10800000">
            <a:off x="3228959" y="2737559"/>
            <a:ext cx="1047200" cy="92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8" name="Google Shape;958;p103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445740" y="1403726"/>
            <a:ext cx="1035200" cy="912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59" name="Google Shape;959;p103" descr="sgicon_transparen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726836" y="6481338"/>
            <a:ext cx="324400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960" name="Google Shape;960;p10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1" name="Google Shape;961;p10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2" name="Google Shape;962;p10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/>
              <a:t>Seagate Confidential</a:t>
            </a: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63" name="Google Shape;963;p10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64" name="Google Shape;964;p103"/>
          <p:cNvSpPr txBox="1">
            <a:spLocks noGrp="1"/>
          </p:cNvSpPr>
          <p:nvPr>
            <p:ph type="title"/>
          </p:nvPr>
        </p:nvSpPr>
        <p:spPr>
          <a:xfrm>
            <a:off x="533389" y="467152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900"/>
            </a:lvl9pPr>
          </a:lstStyle>
          <a:p>
            <a:endParaRPr/>
          </a:p>
        </p:txBody>
      </p:sp>
      <p:sp>
        <p:nvSpPr>
          <p:cNvPr id="965" name="Google Shape;965;p103"/>
          <p:cNvSpPr txBox="1">
            <a:spLocks noGrp="1"/>
          </p:cNvSpPr>
          <p:nvPr>
            <p:ph type="subTitle" idx="6"/>
          </p:nvPr>
        </p:nvSpPr>
        <p:spPr>
          <a:xfrm>
            <a:off x="4328277" y="4793976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6" name="Google Shape;966;p103"/>
          <p:cNvSpPr txBox="1">
            <a:spLocks noGrp="1"/>
          </p:cNvSpPr>
          <p:nvPr>
            <p:ph type="subTitle" idx="7"/>
          </p:nvPr>
        </p:nvSpPr>
        <p:spPr>
          <a:xfrm>
            <a:off x="4328277" y="4471527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7" name="Google Shape;967;p103"/>
          <p:cNvSpPr txBox="1">
            <a:spLocks noGrp="1"/>
          </p:cNvSpPr>
          <p:nvPr>
            <p:ph type="subTitle" idx="8"/>
          </p:nvPr>
        </p:nvSpPr>
        <p:spPr>
          <a:xfrm>
            <a:off x="8082205" y="4793964"/>
            <a:ext cx="3581200" cy="130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rgbClr val="99999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8" name="Google Shape;968;p103"/>
          <p:cNvSpPr txBox="1">
            <a:spLocks noGrp="1"/>
          </p:cNvSpPr>
          <p:nvPr>
            <p:ph type="subTitle" idx="9"/>
          </p:nvPr>
        </p:nvSpPr>
        <p:spPr>
          <a:xfrm>
            <a:off x="8082205" y="4471515"/>
            <a:ext cx="35812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969" name="Google Shape;969;p103"/>
          <p:cNvSpPr txBox="1">
            <a:spLocks noGrp="1"/>
          </p:cNvSpPr>
          <p:nvPr>
            <p:ph type="subTitle" idx="13"/>
          </p:nvPr>
        </p:nvSpPr>
        <p:spPr>
          <a:xfrm>
            <a:off x="8070527" y="1821764"/>
            <a:ext cx="3460400" cy="6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9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</p:spTree>
  </p:cSld>
  <p:clrMapOvr>
    <a:masterClrMapping/>
  </p:clrMapOvr>
  <p:transition spd="med">
    <p:fade thruBlk="1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Google Shape;971;p104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265" tIns="45615" rIns="91265" bIns="4561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0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2" name="Google Shape;972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3" name="Google Shape;973;p104"/>
          <p:cNvSpPr txBox="1"/>
          <p:nvPr/>
        </p:nvSpPr>
        <p:spPr>
          <a:xfrm>
            <a:off x="0" y="2584525"/>
            <a:ext cx="12192000" cy="10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65" tIns="45615" rIns="91265" bIns="4561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</a:pPr>
            <a:r>
              <a:rPr lang="en" sz="6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ank You</a:t>
            </a:r>
            <a:endParaRPr sz="1500"/>
          </a:p>
        </p:txBody>
      </p:sp>
    </p:spTree>
  </p:cSld>
  <p:clrMapOvr>
    <a:masterClrMapping/>
  </p:clrMapOvr>
  <p:transition spd="med">
    <p:fade thruBlk="1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 Black">
  <p:cSld name="Cover Black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8749"/>
            <a:ext cx="12261600" cy="689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2" y="6013517"/>
            <a:ext cx="2133200" cy="711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72"/>
          <p:cNvSpPr txBox="1"/>
          <p:nvPr/>
        </p:nvSpPr>
        <p:spPr>
          <a:xfrm>
            <a:off x="441440" y="1992418"/>
            <a:ext cx="4965200" cy="3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TA IS POTENTIAL</a:t>
            </a:r>
            <a:endParaRPr sz="1500"/>
          </a:p>
        </p:txBody>
      </p:sp>
      <p:sp>
        <p:nvSpPr>
          <p:cNvPr id="569" name="Google Shape;569;p72"/>
          <p:cNvSpPr txBox="1"/>
          <p:nvPr/>
        </p:nvSpPr>
        <p:spPr>
          <a:xfrm>
            <a:off x="441440" y="2970426"/>
            <a:ext cx="10610400" cy="11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300">
              <a:solidFill>
                <a:srgbClr val="6EBE49"/>
              </a:solidFill>
            </a:endParaRPr>
          </a:p>
        </p:txBody>
      </p:sp>
      <p:sp>
        <p:nvSpPr>
          <p:cNvPr id="570" name="Google Shape;570;p72"/>
          <p:cNvSpPr txBox="1"/>
          <p:nvPr/>
        </p:nvSpPr>
        <p:spPr>
          <a:xfrm>
            <a:off x="441440" y="3973426"/>
            <a:ext cx="10610400" cy="711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91349" rIns="91349" bIns="91349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rgbClr val="6EBE49"/>
              </a:solidFill>
            </a:endParaRPr>
          </a:p>
        </p:txBody>
      </p:sp>
    </p:spTree>
  </p:cSld>
  <p:clrMapOvr>
    <a:masterClrMapping/>
  </p:clrMapOvr>
  <p:transition spd="med">
    <p:fade thruBlk="1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Green">
  <p:cSld name="Section Divider Green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73"/>
          <p:cNvSpPr/>
          <p:nvPr/>
        </p:nvSpPr>
        <p:spPr>
          <a:xfrm>
            <a:off x="0" y="-17125"/>
            <a:ext cx="12192000" cy="687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349" tIns="45658" rIns="91349" bIns="4565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73"/>
          <p:cNvSpPr txBox="1">
            <a:spLocks noGrp="1"/>
          </p:cNvSpPr>
          <p:nvPr>
            <p:ph type="title"/>
          </p:nvPr>
        </p:nvSpPr>
        <p:spPr>
          <a:xfrm>
            <a:off x="75" y="2519197"/>
            <a:ext cx="12192000" cy="1046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6400"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73"/>
          <p:cNvSpPr txBox="1">
            <a:spLocks noGrp="1"/>
          </p:cNvSpPr>
          <p:nvPr>
            <p:ph type="subTitle" idx="1"/>
          </p:nvPr>
        </p:nvSpPr>
        <p:spPr>
          <a:xfrm>
            <a:off x="0" y="3628175"/>
            <a:ext cx="12192000" cy="5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75" name="Google Shape;575;p73"/>
          <p:cNvSpPr txBox="1"/>
          <p:nvPr/>
        </p:nvSpPr>
        <p:spPr>
          <a:xfrm>
            <a:off x="11099567" y="6506275"/>
            <a:ext cx="4496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sz="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6" name="Google Shape;576;p73"/>
          <p:cNvCxnSpPr/>
          <p:nvPr/>
        </p:nvCxnSpPr>
        <p:spPr>
          <a:xfrm>
            <a:off x="11549144" y="6542000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77" name="Google Shape;577;p73"/>
          <p:cNvSpPr txBox="1"/>
          <p:nvPr/>
        </p:nvSpPr>
        <p:spPr>
          <a:xfrm>
            <a:off x="10131213" y="6531999"/>
            <a:ext cx="1049200" cy="2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" sz="700">
                <a:solidFill>
                  <a:srgbClr val="FFFFFF"/>
                </a:solidFill>
              </a:rPr>
              <a:t>Seagate Confidential</a:t>
            </a:r>
            <a:endParaRPr sz="7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78" name="Google Shape;578;p73"/>
          <p:cNvCxnSpPr/>
          <p:nvPr/>
        </p:nvCxnSpPr>
        <p:spPr>
          <a:xfrm>
            <a:off x="11099577" y="6542051"/>
            <a:ext cx="0" cy="195201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9" name="Google Shape;579;p7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638083" y="6403040"/>
            <a:ext cx="412644" cy="4309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White">
  <p:cSld name="Cover White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1" name="Google Shape;581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0" cy="686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74"/>
          <p:cNvSpPr txBox="1">
            <a:spLocks noGrp="1"/>
          </p:cNvSpPr>
          <p:nvPr>
            <p:ph type="subTitle" idx="1"/>
          </p:nvPr>
        </p:nvSpPr>
        <p:spPr>
          <a:xfrm>
            <a:off x="441440" y="3862501"/>
            <a:ext cx="7185200" cy="8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700">
                <a:solidFill>
                  <a:srgbClr val="6EBE49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500"/>
            </a:lvl9pPr>
          </a:lstStyle>
          <a:p>
            <a:endParaRPr/>
          </a:p>
        </p:txBody>
      </p:sp>
      <p:sp>
        <p:nvSpPr>
          <p:cNvPr id="583" name="Google Shape;583;p74"/>
          <p:cNvSpPr txBox="1">
            <a:spLocks noGrp="1"/>
          </p:cNvSpPr>
          <p:nvPr>
            <p:ph type="title"/>
          </p:nvPr>
        </p:nvSpPr>
        <p:spPr>
          <a:xfrm>
            <a:off x="441440" y="2731800"/>
            <a:ext cx="11168400" cy="1130800"/>
          </a:xfrm>
          <a:prstGeom prst="rect">
            <a:avLst/>
          </a:prstGeom>
        </p:spPr>
        <p:txBody>
          <a:bodyPr spcFirstLastPara="1" wrap="square" lIns="68575" tIns="68575" rIns="68575" bIns="6857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63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pic>
        <p:nvPicPr>
          <p:cNvPr id="584" name="Google Shape;584;p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6216" y="6019088"/>
            <a:ext cx="2133200" cy="7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85" name="Google Shape;585;p74"/>
          <p:cNvSpPr txBox="1"/>
          <p:nvPr/>
        </p:nvSpPr>
        <p:spPr>
          <a:xfrm>
            <a:off x="478971" y="1992418"/>
            <a:ext cx="4965200" cy="369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49" tIns="45658" rIns="91349" bIns="45658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A IS IN OUR DNA</a:t>
            </a:r>
            <a:endParaRPr sz="15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slideLayout" Target="../slideLayouts/slideLayout264.xml"/><Relationship Id="rId39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70.xml"/><Relationship Id="rId37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78.xml"/><Relationship Id="rId45" Type="http://schemas.openxmlformats.org/officeDocument/2006/relationships/image" Target="../media/image24.png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slideLayout" Target="../slideLayouts/slideLayout261.xml"/><Relationship Id="rId28" Type="http://schemas.openxmlformats.org/officeDocument/2006/relationships/slideLayout" Target="../slideLayouts/slideLayout266.xml"/><Relationship Id="rId36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31" Type="http://schemas.openxmlformats.org/officeDocument/2006/relationships/slideLayout" Target="../slideLayouts/slideLayout269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slideLayout" Target="../slideLayouts/slideLayout260.xml"/><Relationship Id="rId27" Type="http://schemas.openxmlformats.org/officeDocument/2006/relationships/slideLayout" Target="../slideLayouts/slideLayout265.xml"/><Relationship Id="rId30" Type="http://schemas.openxmlformats.org/officeDocument/2006/relationships/slideLayout" Target="../slideLayouts/slideLayout268.xml"/><Relationship Id="rId35" Type="http://schemas.openxmlformats.org/officeDocument/2006/relationships/slideLayout" Target="../slideLayouts/slideLayout273.xml"/><Relationship Id="rId43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slideLayout" Target="../slideLayouts/slideLayout263.xml"/><Relationship Id="rId33" Type="http://schemas.openxmlformats.org/officeDocument/2006/relationships/slideLayout" Target="../slideLayouts/slideLayout271.xml"/><Relationship Id="rId38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58.xml"/><Relationship Id="rId41" Type="http://schemas.openxmlformats.org/officeDocument/2006/relationships/slideLayout" Target="../slideLayouts/slideLayout2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32" Type="http://schemas.openxmlformats.org/officeDocument/2006/relationships/image" Target="../media/image42.png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Relationship Id="rId30" Type="http://schemas.openxmlformats.org/officeDocument/2006/relationships/slideLayout" Target="../slideLayouts/slideLayout31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4.xml"/><Relationship Id="rId18" Type="http://schemas.openxmlformats.org/officeDocument/2006/relationships/slideLayout" Target="../slideLayouts/slideLayout329.xml"/><Relationship Id="rId26" Type="http://schemas.openxmlformats.org/officeDocument/2006/relationships/slideLayout" Target="../slideLayouts/slideLayout337.xml"/><Relationship Id="rId39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332.xml"/><Relationship Id="rId34" Type="http://schemas.openxmlformats.org/officeDocument/2006/relationships/slideLayout" Target="../slideLayouts/slideLayout345.xml"/><Relationship Id="rId42" Type="http://schemas.openxmlformats.org/officeDocument/2006/relationships/slideLayout" Target="../slideLayouts/slideLayout353.xml"/><Relationship Id="rId7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13.xml"/><Relationship Id="rId16" Type="http://schemas.openxmlformats.org/officeDocument/2006/relationships/slideLayout" Target="../slideLayouts/slideLayout327.xml"/><Relationship Id="rId29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24" Type="http://schemas.openxmlformats.org/officeDocument/2006/relationships/slideLayout" Target="../slideLayouts/slideLayout335.xml"/><Relationship Id="rId32" Type="http://schemas.openxmlformats.org/officeDocument/2006/relationships/slideLayout" Target="../slideLayouts/slideLayout343.xml"/><Relationship Id="rId37" Type="http://schemas.openxmlformats.org/officeDocument/2006/relationships/slideLayout" Target="../slideLayouts/slideLayout348.xml"/><Relationship Id="rId40" Type="http://schemas.openxmlformats.org/officeDocument/2006/relationships/slideLayout" Target="../slideLayouts/slideLayout351.xml"/><Relationship Id="rId45" Type="http://schemas.openxmlformats.org/officeDocument/2006/relationships/theme" Target="../theme/theme5.xml"/><Relationship Id="rId5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6.xml"/><Relationship Id="rId23" Type="http://schemas.openxmlformats.org/officeDocument/2006/relationships/slideLayout" Target="../slideLayouts/slideLayout334.xml"/><Relationship Id="rId28" Type="http://schemas.openxmlformats.org/officeDocument/2006/relationships/slideLayout" Target="../slideLayouts/slideLayout339.xml"/><Relationship Id="rId36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21.xml"/><Relationship Id="rId19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42.xml"/><Relationship Id="rId44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slideLayout" Target="../slideLayouts/slideLayout325.xml"/><Relationship Id="rId22" Type="http://schemas.openxmlformats.org/officeDocument/2006/relationships/slideLayout" Target="../slideLayouts/slideLayout333.xml"/><Relationship Id="rId27" Type="http://schemas.openxmlformats.org/officeDocument/2006/relationships/slideLayout" Target="../slideLayouts/slideLayout338.xml"/><Relationship Id="rId30" Type="http://schemas.openxmlformats.org/officeDocument/2006/relationships/slideLayout" Target="../slideLayouts/slideLayout341.xml"/><Relationship Id="rId35" Type="http://schemas.openxmlformats.org/officeDocument/2006/relationships/slideLayout" Target="../slideLayouts/slideLayout346.xml"/><Relationship Id="rId43" Type="http://schemas.openxmlformats.org/officeDocument/2006/relationships/slideLayout" Target="../slideLayouts/slideLayout354.xml"/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23.xml"/><Relationship Id="rId17" Type="http://schemas.openxmlformats.org/officeDocument/2006/relationships/slideLayout" Target="../slideLayouts/slideLayout328.xml"/><Relationship Id="rId25" Type="http://schemas.openxmlformats.org/officeDocument/2006/relationships/slideLayout" Target="../slideLayouts/slideLayout336.xml"/><Relationship Id="rId33" Type="http://schemas.openxmlformats.org/officeDocument/2006/relationships/slideLayout" Target="../slideLayouts/slideLayout344.xml"/><Relationship Id="rId38" Type="http://schemas.openxmlformats.org/officeDocument/2006/relationships/slideLayout" Target="../slideLayouts/slideLayout349.xml"/><Relationship Id="rId46" Type="http://schemas.openxmlformats.org/officeDocument/2006/relationships/image" Target="../media/image24.png"/><Relationship Id="rId20" Type="http://schemas.openxmlformats.org/officeDocument/2006/relationships/slideLayout" Target="../slideLayouts/slideLayout331.xml"/><Relationship Id="rId41" Type="http://schemas.openxmlformats.org/officeDocument/2006/relationships/slideLayout" Target="../slideLayouts/slideLayout3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71"/>
          <p:cNvSpPr txBox="1">
            <a:spLocks noGrp="1"/>
          </p:cNvSpPr>
          <p:nvPr>
            <p:ph type="title"/>
          </p:nvPr>
        </p:nvSpPr>
        <p:spPr>
          <a:xfrm>
            <a:off x="533389" y="467151"/>
            <a:ext cx="11193600" cy="49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449" r:id="rId1"/>
    <p:sldLayoutId id="2147485450" r:id="rId2"/>
    <p:sldLayoutId id="2147485451" r:id="rId3"/>
    <p:sldLayoutId id="2147485452" r:id="rId4"/>
    <p:sldLayoutId id="2147485453" r:id="rId5"/>
    <p:sldLayoutId id="2147485454" r:id="rId6"/>
    <p:sldLayoutId id="2147485455" r:id="rId7"/>
    <p:sldLayoutId id="2147485456" r:id="rId8"/>
    <p:sldLayoutId id="2147485458" r:id="rId9"/>
    <p:sldLayoutId id="2147485459" r:id="rId10"/>
    <p:sldLayoutId id="2147485460" r:id="rId11"/>
    <p:sldLayoutId id="2147485461" r:id="rId12"/>
    <p:sldLayoutId id="2147485462" r:id="rId13"/>
    <p:sldLayoutId id="2147485463" r:id="rId14"/>
    <p:sldLayoutId id="2147485464" r:id="rId15"/>
    <p:sldLayoutId id="2147485465" r:id="rId16"/>
    <p:sldLayoutId id="2147485466" r:id="rId17"/>
    <p:sldLayoutId id="2147485467" r:id="rId18"/>
    <p:sldLayoutId id="2147485468" r:id="rId19"/>
    <p:sldLayoutId id="2147485469" r:id="rId20"/>
    <p:sldLayoutId id="2147485470" r:id="rId21"/>
    <p:sldLayoutId id="2147485471" r:id="rId22"/>
    <p:sldLayoutId id="2147485472" r:id="rId23"/>
    <p:sldLayoutId id="2147485473" r:id="rId24"/>
    <p:sldLayoutId id="2147485474" r:id="rId25"/>
    <p:sldLayoutId id="2147485475" r:id="rId26"/>
    <p:sldLayoutId id="2147485476" r:id="rId27"/>
    <p:sldLayoutId id="2147485477" r:id="rId28"/>
    <p:sldLayoutId id="2147485479" r:id="rId29"/>
    <p:sldLayoutId id="2147485480" r:id="rId30"/>
    <p:sldLayoutId id="2147485481" r:id="rId31"/>
    <p:sldLayoutId id="2147487057" r:id="rId32"/>
    <p:sldLayoutId id="2147487058" r:id="rId33"/>
    <p:sldLayoutId id="2147487059" r:id="rId34"/>
    <p:sldLayoutId id="2147487060" r:id="rId35"/>
    <p:sldLayoutId id="2147487061" r:id="rId36"/>
    <p:sldLayoutId id="2147487062" r:id="rId37"/>
    <p:sldLayoutId id="2147487063" r:id="rId38"/>
    <p:sldLayoutId id="2147487064" r:id="rId39"/>
    <p:sldLayoutId id="2147487065" r:id="rId40"/>
    <p:sldLayoutId id="2147487066" r:id="rId41"/>
    <p:sldLayoutId id="2147487067" r:id="rId42"/>
    <p:sldLayoutId id="2147487068" r:id="rId43"/>
    <p:sldLayoutId id="2147487069" r:id="rId44"/>
    <p:sldLayoutId id="2147487070" r:id="rId45"/>
    <p:sldLayoutId id="2147487071" r:id="rId46"/>
    <p:sldLayoutId id="2147485082" r:id="rId47"/>
    <p:sldLayoutId id="2147485083" r:id="rId48"/>
    <p:sldLayoutId id="2147485084" r:id="rId49"/>
    <p:sldLayoutId id="2147485085" r:id="rId50"/>
    <p:sldLayoutId id="2147485086" r:id="rId51"/>
    <p:sldLayoutId id="2147485087" r:id="rId52"/>
    <p:sldLayoutId id="2147485088" r:id="rId53"/>
    <p:sldLayoutId id="2147485089" r:id="rId54"/>
    <p:sldLayoutId id="2147485090" r:id="rId55"/>
    <p:sldLayoutId id="2147485091" r:id="rId56"/>
    <p:sldLayoutId id="2147485092" r:id="rId57"/>
    <p:sldLayoutId id="2147485093" r:id="rId58"/>
    <p:sldLayoutId id="2147485094" r:id="rId59"/>
    <p:sldLayoutId id="2147485095" r:id="rId60"/>
    <p:sldLayoutId id="2147485096" r:id="rId61"/>
    <p:sldLayoutId id="2147485097" r:id="rId62"/>
    <p:sldLayoutId id="2147487072" r:id="rId63"/>
    <p:sldLayoutId id="2147487073" r:id="rId64"/>
    <p:sldLayoutId id="2147487074" r:id="rId65"/>
    <p:sldLayoutId id="2147487075" r:id="rId66"/>
    <p:sldLayoutId id="2147487076" r:id="rId67"/>
    <p:sldLayoutId id="2147487077" r:id="rId68"/>
    <p:sldLayoutId id="2147487078" r:id="rId69"/>
    <p:sldLayoutId id="2147487079" r:id="rId70"/>
    <p:sldLayoutId id="2147487080" r:id="rId71"/>
    <p:sldLayoutId id="2147487081" r:id="rId72"/>
    <p:sldLayoutId id="2147487082" r:id="rId73"/>
    <p:sldLayoutId id="2147487083" r:id="rId74"/>
    <p:sldLayoutId id="2147487084" r:id="rId75"/>
    <p:sldLayoutId id="2147487085" r:id="rId76"/>
    <p:sldLayoutId id="2147487086" r:id="rId77"/>
    <p:sldLayoutId id="2147487087" r:id="rId78"/>
    <p:sldLayoutId id="2147487088" r:id="rId79"/>
    <p:sldLayoutId id="2147485098" r:id="rId80"/>
    <p:sldLayoutId id="2147485099" r:id="rId81"/>
    <p:sldLayoutId id="2147485100" r:id="rId82"/>
    <p:sldLayoutId id="2147485101" r:id="rId83"/>
    <p:sldLayoutId id="2147485102" r:id="rId84"/>
    <p:sldLayoutId id="2147485103" r:id="rId85"/>
    <p:sldLayoutId id="2147485104" r:id="rId86"/>
    <p:sldLayoutId id="2147485105" r:id="rId87"/>
    <p:sldLayoutId id="2147485106" r:id="rId88"/>
    <p:sldLayoutId id="2147485107" r:id="rId89"/>
    <p:sldLayoutId id="2147485108" r:id="rId90"/>
    <p:sldLayoutId id="2147485117" r:id="rId91"/>
    <p:sldLayoutId id="2147485118" r:id="rId92"/>
    <p:sldLayoutId id="2147485119" r:id="rId93"/>
    <p:sldLayoutId id="2147485120" r:id="rId94"/>
    <p:sldLayoutId id="2147485121" r:id="rId95"/>
    <p:sldLayoutId id="2147485122" r:id="rId96"/>
    <p:sldLayoutId id="2147485405" r:id="rId97"/>
    <p:sldLayoutId id="2147485406" r:id="rId98"/>
    <p:sldLayoutId id="2147485407" r:id="rId99"/>
    <p:sldLayoutId id="2147485408" r:id="rId100"/>
    <p:sldLayoutId id="2147485409" r:id="rId101"/>
    <p:sldLayoutId id="2147485410" r:id="rId102"/>
    <p:sldLayoutId id="2147485411" r:id="rId103"/>
    <p:sldLayoutId id="2147485412" r:id="rId104"/>
    <p:sldLayoutId id="2147485413" r:id="rId105"/>
    <p:sldLayoutId id="2147485414" r:id="rId106"/>
    <p:sldLayoutId id="2147485415" r:id="rId107"/>
    <p:sldLayoutId id="2147485416" r:id="rId108"/>
    <p:sldLayoutId id="2147485417" r:id="rId109"/>
    <p:sldLayoutId id="2147485418" r:id="rId110"/>
    <p:sldLayoutId id="2147485419" r:id="rId111"/>
    <p:sldLayoutId id="2147485420" r:id="rId112"/>
    <p:sldLayoutId id="2147485421" r:id="rId113"/>
    <p:sldLayoutId id="2147485422" r:id="rId114"/>
    <p:sldLayoutId id="2147485423" r:id="rId115"/>
    <p:sldLayoutId id="2147485424" r:id="rId116"/>
    <p:sldLayoutId id="2147485425" r:id="rId117"/>
    <p:sldLayoutId id="2147485426" r:id="rId118"/>
    <p:sldLayoutId id="2147485427" r:id="rId119"/>
    <p:sldLayoutId id="2147485428" r:id="rId120"/>
    <p:sldLayoutId id="2147485429" r:id="rId121"/>
    <p:sldLayoutId id="2147485430" r:id="rId122"/>
    <p:sldLayoutId id="2147485431" r:id="rId123"/>
    <p:sldLayoutId id="2147485432" r:id="rId124"/>
    <p:sldLayoutId id="2147485433" r:id="rId125"/>
    <p:sldLayoutId id="2147485434" r:id="rId126"/>
    <p:sldLayoutId id="2147485435" r:id="rId127"/>
    <p:sldLayoutId id="2147485436" r:id="rId128"/>
    <p:sldLayoutId id="2147485437" r:id="rId129"/>
    <p:sldLayoutId id="2147483716" r:id="rId130"/>
    <p:sldLayoutId id="2147483717" r:id="rId131"/>
    <p:sldLayoutId id="2147483718" r:id="rId132"/>
    <p:sldLayoutId id="2147483720" r:id="rId133"/>
    <p:sldLayoutId id="2147483721" r:id="rId134"/>
    <p:sldLayoutId id="2147483722" r:id="rId135"/>
    <p:sldLayoutId id="2147483723" r:id="rId136"/>
    <p:sldLayoutId id="2147483725" r:id="rId137"/>
    <p:sldLayoutId id="2147483726" r:id="rId138"/>
    <p:sldLayoutId id="2147483727" r:id="rId139"/>
    <p:sldLayoutId id="2147483728" r:id="rId140"/>
    <p:sldLayoutId id="2147483729" r:id="rId141"/>
    <p:sldLayoutId id="2147483730" r:id="rId142"/>
    <p:sldLayoutId id="2147483731" r:id="rId143"/>
    <p:sldLayoutId id="2147487111" r:id="rId144"/>
    <p:sldLayoutId id="2147487112" r:id="rId145"/>
    <p:sldLayoutId id="2147487113" r:id="rId146"/>
    <p:sldLayoutId id="2147487114" r:id="rId147"/>
    <p:sldLayoutId id="2147487115" r:id="rId148"/>
    <p:sldLayoutId id="2147487116" r:id="rId149"/>
    <p:sldLayoutId id="2147487117" r:id="rId150"/>
    <p:sldLayoutId id="2147487118" r:id="rId151"/>
    <p:sldLayoutId id="2147487119" r:id="rId152"/>
    <p:sldLayoutId id="2147487120" r:id="rId153"/>
    <p:sldLayoutId id="2147487121" r:id="rId154"/>
    <p:sldLayoutId id="2147487122" r:id="rId155"/>
    <p:sldLayoutId id="2147487123" r:id="rId156"/>
    <p:sldLayoutId id="2147487124" r:id="rId157"/>
    <p:sldLayoutId id="2147487125" r:id="rId158"/>
    <p:sldLayoutId id="2147487126" r:id="rId159"/>
    <p:sldLayoutId id="2147483748" r:id="rId160"/>
    <p:sldLayoutId id="2147487127" r:id="rId161"/>
    <p:sldLayoutId id="2147485482" r:id="rId162"/>
    <p:sldLayoutId id="2147485483" r:id="rId163"/>
    <p:sldLayoutId id="2147485484" r:id="rId164"/>
    <p:sldLayoutId id="2147487089" r:id="rId165"/>
    <p:sldLayoutId id="2147487090" r:id="rId166"/>
    <p:sldLayoutId id="2147487091" r:id="rId167"/>
    <p:sldLayoutId id="2147487092" r:id="rId168"/>
    <p:sldLayoutId id="2147487093" r:id="rId169"/>
    <p:sldLayoutId id="2147487094" r:id="rId170"/>
    <p:sldLayoutId id="2147487095" r:id="rId171"/>
    <p:sldLayoutId id="2147487097" r:id="rId172"/>
    <p:sldLayoutId id="2147487098" r:id="rId173"/>
    <p:sldLayoutId id="2147487099" r:id="rId174"/>
    <p:sldLayoutId id="2147487100" r:id="rId175"/>
    <p:sldLayoutId id="2147487101" r:id="rId176"/>
    <p:sldLayoutId id="2147487102" r:id="rId177"/>
    <p:sldLayoutId id="2147487103" r:id="rId178"/>
    <p:sldLayoutId id="2147487104" r:id="rId179"/>
    <p:sldLayoutId id="2147487105" r:id="rId180"/>
    <p:sldLayoutId id="2147487106" r:id="rId181"/>
    <p:sldLayoutId id="2147487107" r:id="rId182"/>
    <p:sldLayoutId id="2147487096" r:id="rId183"/>
    <p:sldLayoutId id="2147485123" r:id="rId184"/>
    <p:sldLayoutId id="2147485124" r:id="rId185"/>
    <p:sldLayoutId id="2147485125" r:id="rId186"/>
    <p:sldLayoutId id="2147485126" r:id="rId187"/>
    <p:sldLayoutId id="2147485109" r:id="rId188"/>
    <p:sldLayoutId id="2147485110" r:id="rId189"/>
    <p:sldLayoutId id="2147485111" r:id="rId190"/>
    <p:sldLayoutId id="2147485112" r:id="rId191"/>
    <p:sldLayoutId id="2147485113" r:id="rId192"/>
    <p:sldLayoutId id="2147485114" r:id="rId193"/>
    <p:sldLayoutId id="2147485115" r:id="rId194"/>
    <p:sldLayoutId id="2147485438" r:id="rId195"/>
    <p:sldLayoutId id="2147485439" r:id="rId196"/>
    <p:sldLayoutId id="2147485440" r:id="rId197"/>
    <p:sldLayoutId id="2147485441" r:id="rId198"/>
    <p:sldLayoutId id="2147485442" r:id="rId199"/>
    <p:sldLayoutId id="2147485443" r:id="rId200"/>
    <p:sldLayoutId id="2147485444" r:id="rId201"/>
    <p:sldLayoutId id="2147485445" r:id="rId202"/>
    <p:sldLayoutId id="2147485446" r:id="rId203"/>
    <p:sldLayoutId id="2147485447" r:id="rId204"/>
    <p:sldLayoutId id="2147485448" r:id="rId205"/>
    <p:sldLayoutId id="2147487128" r:id="rId206"/>
    <p:sldLayoutId id="2147487129" r:id="rId207"/>
    <p:sldLayoutId id="2147487130" r:id="rId208"/>
    <p:sldLayoutId id="2147487131" r:id="rId209"/>
    <p:sldLayoutId id="2147487132" r:id="rId210"/>
    <p:sldLayoutId id="2147487133" r:id="rId211"/>
    <p:sldLayoutId id="2147487040" r:id="rId212"/>
    <p:sldLayoutId id="2147487041" r:id="rId213"/>
    <p:sldLayoutId id="2147487042" r:id="rId214"/>
    <p:sldLayoutId id="2147487043" r:id="rId215"/>
    <p:sldLayoutId id="2147487255" r:id="rId216"/>
  </p:sldLayoutIdLst>
  <p:transition spd="med">
    <p:fade thruBlk="1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9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Confidential  |  2020	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3787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7654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583" r:id="rId2"/>
    <p:sldLayoutId id="2147485584" r:id="rId3"/>
    <p:sldLayoutId id="2147485585" r:id="rId4"/>
    <p:sldLayoutId id="2147485227" r:id="rId5"/>
    <p:sldLayoutId id="2147485228" r:id="rId6"/>
    <p:sldLayoutId id="2147485230" r:id="rId7"/>
    <p:sldLayoutId id="2147485231" r:id="rId8"/>
    <p:sldLayoutId id="2147485246" r:id="rId9"/>
    <p:sldLayoutId id="2147485248" r:id="rId10"/>
    <p:sldLayoutId id="2147485249" r:id="rId11"/>
    <p:sldLayoutId id="2147485250" r:id="rId12"/>
    <p:sldLayoutId id="2147487054" r:id="rId13"/>
    <p:sldLayoutId id="2147487055" r:id="rId14"/>
    <p:sldLayoutId id="2147487056" r:id="rId15"/>
    <p:sldLayoutId id="2147485580" r:id="rId16"/>
    <p:sldLayoutId id="2147485535" r:id="rId17"/>
    <p:sldLayoutId id="2147485536" r:id="rId18"/>
    <p:sldLayoutId id="2147485537" r:id="rId19"/>
    <p:sldLayoutId id="2147485589" r:id="rId20"/>
    <p:sldLayoutId id="2147485541" r:id="rId21"/>
    <p:sldLayoutId id="214748523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091057" y="6464554"/>
            <a:ext cx="2002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 | </a:t>
            </a:r>
            <a:fld id="{C3C623EA-CD16-E442-AC01-D640FC63C9A8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9" r:id="rId1"/>
    <p:sldLayoutId id="2147486960" r:id="rId2"/>
    <p:sldLayoutId id="2147486961" r:id="rId3"/>
    <p:sldLayoutId id="2147486962" r:id="rId4"/>
    <p:sldLayoutId id="2147486963" r:id="rId5"/>
    <p:sldLayoutId id="2147486964" r:id="rId6"/>
    <p:sldLayoutId id="2147486965" r:id="rId7"/>
    <p:sldLayoutId id="2147486966" r:id="rId8"/>
    <p:sldLayoutId id="2147486967" r:id="rId9"/>
    <p:sldLayoutId id="2147486968" r:id="rId10"/>
    <p:sldLayoutId id="2147486969" r:id="rId11"/>
    <p:sldLayoutId id="2147486970" r:id="rId12"/>
    <p:sldLayoutId id="2147486971" r:id="rId13"/>
    <p:sldLayoutId id="2147486972" r:id="rId14"/>
    <p:sldLayoutId id="2147486973" r:id="rId15"/>
    <p:sldLayoutId id="2147486974" r:id="rId16"/>
    <p:sldLayoutId id="2147486975" r:id="rId17"/>
    <p:sldLayoutId id="2147486976" r:id="rId18"/>
    <p:sldLayoutId id="2147486977" r:id="rId19"/>
    <p:sldLayoutId id="2147486978" r:id="rId20"/>
    <p:sldLayoutId id="2147486979" r:id="rId21"/>
    <p:sldLayoutId id="2147486980" r:id="rId22"/>
    <p:sldLayoutId id="2147486981" r:id="rId23"/>
    <p:sldLayoutId id="2147486982" r:id="rId24"/>
    <p:sldLayoutId id="2147486983" r:id="rId25"/>
    <p:sldLayoutId id="2147486984" r:id="rId26"/>
    <p:sldLayoutId id="2147486985" r:id="rId27"/>
    <p:sldLayoutId id="2147486986" r:id="rId28"/>
    <p:sldLayoutId id="2147486987" r:id="rId29"/>
    <p:sldLayoutId id="2147486988" r:id="rId30"/>
    <p:sldLayoutId id="2147486989" r:id="rId31"/>
    <p:sldLayoutId id="2147486990" r:id="rId32"/>
    <p:sldLayoutId id="2147486991" r:id="rId33"/>
    <p:sldLayoutId id="2147486992" r:id="rId34"/>
    <p:sldLayoutId id="2147486993" r:id="rId35"/>
    <p:sldLayoutId id="2147486994" r:id="rId36"/>
    <p:sldLayoutId id="2147486995" r:id="rId37"/>
    <p:sldLayoutId id="2147486996" r:id="rId38"/>
    <p:sldLayoutId id="2147486997" r:id="rId39"/>
    <p:sldLayoutId id="2147486998" r:id="rId40"/>
    <p:sldLayoutId id="2147486999" r:id="rId41"/>
    <p:sldLayoutId id="2147487000" r:id="rId42"/>
    <p:sldLayoutId id="2147487001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9382540" y="6416124"/>
            <a:ext cx="2156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  |  2020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463" y="6409511"/>
            <a:ext cx="324249" cy="2748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11404235" y="6449145"/>
            <a:ext cx="369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736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49" r:id="rId1"/>
    <p:sldLayoutId id="2147487250" r:id="rId2"/>
    <p:sldLayoutId id="2147487251" r:id="rId3"/>
    <p:sldLayoutId id="2147487252" r:id="rId4"/>
    <p:sldLayoutId id="2147487138" r:id="rId5"/>
    <p:sldLayoutId id="2147487139" r:id="rId6"/>
    <p:sldLayoutId id="2147487253" r:id="rId7"/>
    <p:sldLayoutId id="2147487140" r:id="rId8"/>
    <p:sldLayoutId id="2147487141" r:id="rId9"/>
    <p:sldLayoutId id="2147484352" r:id="rId10"/>
    <p:sldLayoutId id="2147487142" r:id="rId11"/>
    <p:sldLayoutId id="2147487143" r:id="rId12"/>
    <p:sldLayoutId id="2147487144" r:id="rId13"/>
    <p:sldLayoutId id="2147487145" r:id="rId14"/>
    <p:sldLayoutId id="2147487146" r:id="rId15"/>
    <p:sldLayoutId id="2147487147" r:id="rId16"/>
    <p:sldLayoutId id="2147487148" r:id="rId17"/>
    <p:sldLayoutId id="2147487199" r:id="rId18"/>
    <p:sldLayoutId id="2147487200" r:id="rId19"/>
    <p:sldLayoutId id="2147487201" r:id="rId20"/>
    <p:sldLayoutId id="2147487135" r:id="rId21"/>
    <p:sldLayoutId id="2147483982" r:id="rId22"/>
    <p:sldLayoutId id="2147487203" r:id="rId23"/>
    <p:sldLayoutId id="2147487204" r:id="rId24"/>
    <p:sldLayoutId id="2147487165" r:id="rId25"/>
    <p:sldLayoutId id="2147487166" r:id="rId26"/>
    <p:sldLayoutId id="2147487167" r:id="rId27"/>
    <p:sldLayoutId id="2147487168" r:id="rId28"/>
    <p:sldLayoutId id="2147487169" r:id="rId29"/>
    <p:sldLayoutId id="2147484300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553BED-6869-4144-A142-3C5876DC7E3F}"/>
              </a:ext>
            </a:extLst>
          </p:cNvPr>
          <p:cNvSpPr txBox="1"/>
          <p:nvPr userDrawn="1"/>
        </p:nvSpPr>
        <p:spPr>
          <a:xfrm>
            <a:off x="10135017" y="6464554"/>
            <a:ext cx="1864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Seagate Internal | 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B52EA5-4C1C-DF41-8A03-F82867E46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t="8840" b="29855"/>
          <a:stretch/>
        </p:blipFill>
        <p:spPr>
          <a:xfrm>
            <a:off x="9556012" y="6399054"/>
            <a:ext cx="685070" cy="368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6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4302" r:id="rId3"/>
    <p:sldLayoutId id="2147484315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7223" r:id="rId19"/>
    <p:sldLayoutId id="2147487224" r:id="rId20"/>
    <p:sldLayoutId id="2147487225" r:id="rId21"/>
    <p:sldLayoutId id="2147487226" r:id="rId22"/>
    <p:sldLayoutId id="2147487227" r:id="rId23"/>
    <p:sldLayoutId id="2147487228" r:id="rId24"/>
    <p:sldLayoutId id="2147487229" r:id="rId25"/>
    <p:sldLayoutId id="2147487230" r:id="rId26"/>
    <p:sldLayoutId id="2147487231" r:id="rId27"/>
    <p:sldLayoutId id="2147487232" r:id="rId28"/>
    <p:sldLayoutId id="2147487233" r:id="rId29"/>
    <p:sldLayoutId id="2147487234" r:id="rId30"/>
    <p:sldLayoutId id="2147487235" r:id="rId31"/>
    <p:sldLayoutId id="2147487236" r:id="rId32"/>
    <p:sldLayoutId id="2147487237" r:id="rId33"/>
    <p:sldLayoutId id="2147487238" r:id="rId34"/>
    <p:sldLayoutId id="2147484006" r:id="rId35"/>
    <p:sldLayoutId id="2147487240" r:id="rId36"/>
    <p:sldLayoutId id="2147487241" r:id="rId37"/>
    <p:sldLayoutId id="2147487242" r:id="rId38"/>
    <p:sldLayoutId id="2147487243" r:id="rId39"/>
    <p:sldLayoutId id="2147487244" r:id="rId40"/>
    <p:sldLayoutId id="2147487245" r:id="rId41"/>
    <p:sldLayoutId id="2147487246" r:id="rId42"/>
    <p:sldLayoutId id="2147487247" r:id="rId43"/>
    <p:sldLayoutId id="2147483900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543505" rtl="0" eaLnBrk="1" latinLnBrk="0" hangingPunct="1">
        <a:spcBef>
          <a:spcPct val="0"/>
        </a:spcBef>
        <a:buNone/>
        <a:defRPr sz="2999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>
            <a:extLst>
              <a:ext uri="{FF2B5EF4-FFF2-40B4-BE49-F238E27FC236}">
                <a16:creationId xmlns:a16="http://schemas.microsoft.com/office/drawing/2014/main" id="{B77F95F1-FC14-4D26-8B38-03C449DDC53E}"/>
              </a:ext>
            </a:extLst>
          </p:cNvPr>
          <p:cNvGrpSpPr/>
          <p:nvPr/>
        </p:nvGrpSpPr>
        <p:grpSpPr>
          <a:xfrm>
            <a:off x="168143" y="1702527"/>
            <a:ext cx="5326966" cy="3619077"/>
            <a:chOff x="1744394" y="1702527"/>
            <a:chExt cx="5326966" cy="36190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91EBA1-2459-414B-9231-FCCBC2AE9F05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5F8B8A-9710-4949-A45D-E5B56DCE3663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8B0B92D9-0731-5248-8DD9-4ED6B25895A8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CE6420D-D1F2-42A7-8BF4-BC6D8224FF8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23" name="Arrow: Up-Down 22">
                <a:extLst>
                  <a:ext uri="{FF2B5EF4-FFF2-40B4-BE49-F238E27FC236}">
                    <a16:creationId xmlns:a16="http://schemas.microsoft.com/office/drawing/2014/main" id="{5FEB1230-B551-44D3-B41C-BE596B676651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A63DA23-7B21-4615-BCB0-07ACEF7C2234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7852AD7-8ECB-44DF-8F4F-70313A738BB9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A54B63BB-3B03-4051-9028-878BB92BA5B5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54225798-1161-45DB-AC55-32AD36F2AA0C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74" name="Arrow: Up-Down 73">
                <a:extLst>
                  <a:ext uri="{FF2B5EF4-FFF2-40B4-BE49-F238E27FC236}">
                    <a16:creationId xmlns:a16="http://schemas.microsoft.com/office/drawing/2014/main" id="{79A06B7D-93C0-49F2-B372-C42E90BE06BC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5534C58-6056-466A-83C1-894003EC27DC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93184DE-D02B-495A-A112-F1886A01C2A3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935214A-A82F-41BB-BC72-1D747966402B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E93D09DB-6702-4B77-B41D-88241AC3BFEC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7B8E132C-0A26-42D5-95EB-F5A95103D3A9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80" name="Arrow: Up-Down 79">
                <a:extLst>
                  <a:ext uri="{FF2B5EF4-FFF2-40B4-BE49-F238E27FC236}">
                    <a16:creationId xmlns:a16="http://schemas.microsoft.com/office/drawing/2014/main" id="{C335085A-7E5E-47D9-AE0A-776A8D644EA0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8975029-74B0-473D-B343-8280AD8F8CE2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1</a:t>
                </a:r>
              </a:p>
            </p:txBody>
          </p:sp>
        </p:grp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CB95F0C1-D190-4D4A-BA7A-3A4CB388F5E8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2D70EA-5407-4B7A-B8D8-523AFA3AF8B6}"/>
              </a:ext>
            </a:extLst>
          </p:cNvPr>
          <p:cNvGrpSpPr/>
          <p:nvPr/>
        </p:nvGrpSpPr>
        <p:grpSpPr>
          <a:xfrm>
            <a:off x="5953146" y="1693819"/>
            <a:ext cx="5326966" cy="3619077"/>
            <a:chOff x="1744394" y="1702527"/>
            <a:chExt cx="5326966" cy="3619077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9160422-7032-41B3-95DD-23AAED26A426}"/>
                </a:ext>
              </a:extLst>
            </p:cNvPr>
            <p:cNvSpPr/>
            <p:nvPr/>
          </p:nvSpPr>
          <p:spPr>
            <a:xfrm>
              <a:off x="1744394" y="1702527"/>
              <a:ext cx="5326966" cy="361907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 Set 2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31D12E2-7369-4AEE-B1B5-D4FA242AB6AD}"/>
                </a:ext>
              </a:extLst>
            </p:cNvPr>
            <p:cNvGrpSpPr/>
            <p:nvPr/>
          </p:nvGrpSpPr>
          <p:grpSpPr>
            <a:xfrm>
              <a:off x="1863636" y="2704007"/>
              <a:ext cx="1184365" cy="2451466"/>
              <a:chOff x="1863636" y="2076992"/>
              <a:chExt cx="1184365" cy="2451466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5D42D5C-2C45-4D8A-9CF2-59206A01DCA6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1</a:t>
                </a:r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C170594-3E2E-4B7D-8E30-964505FF3E5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03" name="Arrow: Up-Down 102">
                <a:extLst>
                  <a:ext uri="{FF2B5EF4-FFF2-40B4-BE49-F238E27FC236}">
                    <a16:creationId xmlns:a16="http://schemas.microsoft.com/office/drawing/2014/main" id="{AEB87120-2324-446C-B03D-1E27193963D9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7BBB38B-60B4-4377-8EE5-43E479E06E13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1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94789276-D8A2-46B8-8BA4-C12B696878C3}"/>
                </a:ext>
              </a:extLst>
            </p:cNvPr>
            <p:cNvGrpSpPr/>
            <p:nvPr/>
          </p:nvGrpSpPr>
          <p:grpSpPr>
            <a:xfrm>
              <a:off x="3444246" y="2699650"/>
              <a:ext cx="1184365" cy="2451466"/>
              <a:chOff x="1863636" y="2076992"/>
              <a:chExt cx="1184365" cy="2451466"/>
            </a:xfrm>
          </p:grpSpPr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67FFA457-3A7D-432D-837D-C9003C26DD30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656DBC7C-6F52-4EB1-B4B2-063BA0FDC3AA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9" name="Arrow: Up-Down 98">
                <a:extLst>
                  <a:ext uri="{FF2B5EF4-FFF2-40B4-BE49-F238E27FC236}">
                    <a16:creationId xmlns:a16="http://schemas.microsoft.com/office/drawing/2014/main" id="{B962CD8B-97F6-4FEE-BA7D-BC95F7E9286B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DDC13174-773E-4654-B78C-F1F684FB7FFB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2</a:t>
                </a: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A95393C-E110-42D9-B717-21A1AF7F35B0}"/>
                </a:ext>
              </a:extLst>
            </p:cNvPr>
            <p:cNvSpPr/>
            <p:nvPr/>
          </p:nvSpPr>
          <p:spPr>
            <a:xfrm>
              <a:off x="1863636" y="2178182"/>
              <a:ext cx="5053324" cy="30744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twork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BF24D8D8-4143-4A50-842B-C62881928686}"/>
                </a:ext>
              </a:extLst>
            </p:cNvPr>
            <p:cNvGrpSpPr/>
            <p:nvPr/>
          </p:nvGrpSpPr>
          <p:grpSpPr>
            <a:xfrm>
              <a:off x="5732594" y="2687445"/>
              <a:ext cx="1184365" cy="2451466"/>
              <a:chOff x="1863636" y="2076992"/>
              <a:chExt cx="1184365" cy="2451466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CB8B40DA-82E0-44D1-A3E1-1FC804C6B11E}"/>
                  </a:ext>
                </a:extLst>
              </p:cNvPr>
              <p:cNvSpPr/>
              <p:nvPr/>
            </p:nvSpPr>
            <p:spPr>
              <a:xfrm>
                <a:off x="2038922" y="2460697"/>
                <a:ext cx="859196" cy="647825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rver 2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11EFA935-D492-4AC6-91F0-2A3A1809D7E8}"/>
                  </a:ext>
                </a:extLst>
              </p:cNvPr>
              <p:cNvSpPr/>
              <p:nvPr/>
            </p:nvSpPr>
            <p:spPr>
              <a:xfrm>
                <a:off x="2019495" y="3492157"/>
                <a:ext cx="859196" cy="86903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c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Arrow: Up-Down 94">
                <a:extLst>
                  <a:ext uri="{FF2B5EF4-FFF2-40B4-BE49-F238E27FC236}">
                    <a16:creationId xmlns:a16="http://schemas.microsoft.com/office/drawing/2014/main" id="{853280E6-4D77-431F-8F31-01F1C94ED974}"/>
                  </a:ext>
                </a:extLst>
              </p:cNvPr>
              <p:cNvSpPr/>
              <p:nvPr/>
            </p:nvSpPr>
            <p:spPr>
              <a:xfrm>
                <a:off x="2388994" y="3159464"/>
                <a:ext cx="148890" cy="262113"/>
              </a:xfrm>
              <a:prstGeom prst="upDownArrow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F321B02-D5C6-4427-A239-F5E7956184A7}"/>
                  </a:ext>
                </a:extLst>
              </p:cNvPr>
              <p:cNvSpPr/>
              <p:nvPr/>
            </p:nvSpPr>
            <p:spPr>
              <a:xfrm>
                <a:off x="1863636" y="2076992"/>
                <a:ext cx="1184365" cy="2451466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de N2</a:t>
                </a:r>
              </a:p>
            </p:txBody>
          </p:sp>
        </p:grp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BCE28F5-1DE7-474F-8627-914DACE3A2E7}"/>
                </a:ext>
              </a:extLst>
            </p:cNvPr>
            <p:cNvCxnSpPr>
              <a:cxnSpLocks/>
            </p:cNvCxnSpPr>
            <p:nvPr/>
          </p:nvCxnSpPr>
          <p:spPr>
            <a:xfrm>
              <a:off x="4824548" y="3782122"/>
              <a:ext cx="679270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5647274" y="2165287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026223" y="935676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CORTXv2 Cluster  with Storage Set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B3D8EA5-1104-4B8E-8D34-FD685F1DCDBC}"/>
              </a:ext>
            </a:extLst>
          </p:cNvPr>
          <p:cNvCxnSpPr/>
          <p:nvPr/>
        </p:nvCxnSpPr>
        <p:spPr>
          <a:xfrm>
            <a:off x="11408227" y="3771230"/>
            <a:ext cx="3744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75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1591EBA1-2459-414B-9231-FCCBC2AE9F05}"/>
              </a:ext>
            </a:extLst>
          </p:cNvPr>
          <p:cNvSpPr/>
          <p:nvPr/>
        </p:nvSpPr>
        <p:spPr>
          <a:xfrm>
            <a:off x="535790" y="750419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1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5F8B8A-9710-4949-A45D-E5B56DCE3663}"/>
              </a:ext>
            </a:extLst>
          </p:cNvPr>
          <p:cNvGrpSpPr/>
          <p:nvPr/>
        </p:nvGrpSpPr>
        <p:grpSpPr>
          <a:xfrm>
            <a:off x="655032" y="1751899"/>
            <a:ext cx="1184365" cy="1217544"/>
            <a:chOff x="1863636" y="2076992"/>
            <a:chExt cx="1184365" cy="12175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0B92D9-0731-5248-8DD9-4ED6B25895A8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1863636" y="2076992"/>
              <a:ext cx="1184365" cy="1217544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7852AD7-8ECB-44DF-8F4F-70313A738BB9}"/>
              </a:ext>
            </a:extLst>
          </p:cNvPr>
          <p:cNvGrpSpPr/>
          <p:nvPr/>
        </p:nvGrpSpPr>
        <p:grpSpPr>
          <a:xfrm>
            <a:off x="2235642" y="1747542"/>
            <a:ext cx="1184365" cy="1217540"/>
            <a:chOff x="1863636" y="2076992"/>
            <a:chExt cx="1184365" cy="1217540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54B63BB-3B03-4051-9028-878BB92BA5B5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5534C58-6056-466A-83C1-894003EC27DC}"/>
                </a:ext>
              </a:extLst>
            </p:cNvPr>
            <p:cNvSpPr/>
            <p:nvPr/>
          </p:nvSpPr>
          <p:spPr>
            <a:xfrm>
              <a:off x="1863636" y="2076992"/>
              <a:ext cx="1184365" cy="1217540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655032" y="1226074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35214A-A82F-41BB-BC72-1D747966402B}"/>
              </a:ext>
            </a:extLst>
          </p:cNvPr>
          <p:cNvGrpSpPr/>
          <p:nvPr/>
        </p:nvGrpSpPr>
        <p:grpSpPr>
          <a:xfrm>
            <a:off x="4523990" y="1735337"/>
            <a:ext cx="1184365" cy="1229742"/>
            <a:chOff x="1863636" y="2076992"/>
            <a:chExt cx="1184365" cy="122974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93D09DB-6702-4B77-B41D-88241AC3BFEC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8975029-74B0-473D-B343-8280AD8F8CE2}"/>
                </a:ext>
              </a:extLst>
            </p:cNvPr>
            <p:cNvSpPr/>
            <p:nvPr/>
          </p:nvSpPr>
          <p:spPr>
            <a:xfrm>
              <a:off x="1863636" y="2076992"/>
              <a:ext cx="1184365" cy="1229742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1</a:t>
              </a: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95F0C1-D190-4D4A-BA7A-3A4CB388F5E8}"/>
              </a:ext>
            </a:extLst>
          </p:cNvPr>
          <p:cNvCxnSpPr>
            <a:cxnSpLocks/>
          </p:cNvCxnSpPr>
          <p:nvPr/>
        </p:nvCxnSpPr>
        <p:spPr>
          <a:xfrm>
            <a:off x="3615944" y="2830014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89160422-7032-41B3-95DD-23AAED26A426}"/>
              </a:ext>
            </a:extLst>
          </p:cNvPr>
          <p:cNvSpPr/>
          <p:nvPr/>
        </p:nvSpPr>
        <p:spPr>
          <a:xfrm>
            <a:off x="6320793" y="741711"/>
            <a:ext cx="5326966" cy="57729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Set 2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31D12E2-7369-4AEE-B1B5-D4FA242AB6AD}"/>
              </a:ext>
            </a:extLst>
          </p:cNvPr>
          <p:cNvGrpSpPr/>
          <p:nvPr/>
        </p:nvGrpSpPr>
        <p:grpSpPr>
          <a:xfrm>
            <a:off x="6440035" y="1743191"/>
            <a:ext cx="1184365" cy="1221888"/>
            <a:chOff x="1863636" y="2076992"/>
            <a:chExt cx="1184365" cy="1221888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5D42D5C-2C45-4D8A-9CF2-59206A01DCA6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1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7BBB38B-60B4-4377-8EE5-43E479E06E13}"/>
                </a:ext>
              </a:extLst>
            </p:cNvPr>
            <p:cNvSpPr/>
            <p:nvPr/>
          </p:nvSpPr>
          <p:spPr>
            <a:xfrm>
              <a:off x="1863636" y="2076992"/>
              <a:ext cx="1184365" cy="1221888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1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94789276-D8A2-46B8-8BA4-C12B696878C3}"/>
              </a:ext>
            </a:extLst>
          </p:cNvPr>
          <p:cNvGrpSpPr/>
          <p:nvPr/>
        </p:nvGrpSpPr>
        <p:grpSpPr>
          <a:xfrm>
            <a:off x="8020645" y="1738834"/>
            <a:ext cx="1184365" cy="1230607"/>
            <a:chOff x="1863636" y="2076992"/>
            <a:chExt cx="1184365" cy="1230607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67FFA457-3A7D-432D-837D-C9003C26DD30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C13174-773E-4654-B78C-F1F684FB7FFB}"/>
                </a:ext>
              </a:extLst>
            </p:cNvPr>
            <p:cNvSpPr/>
            <p:nvPr/>
          </p:nvSpPr>
          <p:spPr>
            <a:xfrm>
              <a:off x="1863636" y="2076992"/>
              <a:ext cx="1184365" cy="1230607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2</a:t>
              </a: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A95393C-E110-42D9-B717-21A1AF7F35B0}"/>
              </a:ext>
            </a:extLst>
          </p:cNvPr>
          <p:cNvSpPr/>
          <p:nvPr/>
        </p:nvSpPr>
        <p:spPr>
          <a:xfrm>
            <a:off x="6440035" y="1217366"/>
            <a:ext cx="5053324" cy="30744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F24D8D8-4143-4A50-842B-C62881928686}"/>
              </a:ext>
            </a:extLst>
          </p:cNvPr>
          <p:cNvGrpSpPr/>
          <p:nvPr/>
        </p:nvGrpSpPr>
        <p:grpSpPr>
          <a:xfrm>
            <a:off x="10308993" y="1726629"/>
            <a:ext cx="1184365" cy="1238449"/>
            <a:chOff x="1863636" y="2076992"/>
            <a:chExt cx="1184365" cy="1238449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CB8B40DA-82E0-44D1-A3E1-1FC804C6B11E}"/>
                </a:ext>
              </a:extLst>
            </p:cNvPr>
            <p:cNvSpPr/>
            <p:nvPr/>
          </p:nvSpPr>
          <p:spPr>
            <a:xfrm>
              <a:off x="2038922" y="2460697"/>
              <a:ext cx="859196" cy="64782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 2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5F321B02-D5C6-4427-A239-F5E7956184A7}"/>
                </a:ext>
              </a:extLst>
            </p:cNvPr>
            <p:cNvSpPr/>
            <p:nvPr/>
          </p:nvSpPr>
          <p:spPr>
            <a:xfrm>
              <a:off x="1863636" y="2076992"/>
              <a:ext cx="1184365" cy="1238449"/>
            </a:xfrm>
            <a:prstGeom prst="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de N2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BCE28F5-1DE7-474F-8627-914DACE3A2E7}"/>
              </a:ext>
            </a:extLst>
          </p:cNvPr>
          <p:cNvCxnSpPr>
            <a:cxnSpLocks/>
          </p:cNvCxnSpPr>
          <p:nvPr/>
        </p:nvCxnSpPr>
        <p:spPr>
          <a:xfrm>
            <a:off x="9400947" y="2821306"/>
            <a:ext cx="67927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5" name="Arrow: Up-Down 104">
            <a:extLst>
              <a:ext uri="{FF2B5EF4-FFF2-40B4-BE49-F238E27FC236}">
                <a16:creationId xmlns:a16="http://schemas.microsoft.com/office/drawing/2014/main" id="{F48FCF99-9EC0-46D8-8CD4-C950098D1668}"/>
              </a:ext>
            </a:extLst>
          </p:cNvPr>
          <p:cNvSpPr/>
          <p:nvPr/>
        </p:nvSpPr>
        <p:spPr>
          <a:xfrm rot="5400000">
            <a:off x="6014921" y="1213179"/>
            <a:ext cx="163779" cy="317156"/>
          </a:xfrm>
          <a:prstGeom prst="upDownArrow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3789039" y="-1643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algn="l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erver Metadata Layout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4B76C9-3548-4F98-BE3F-112498936794}"/>
              </a:ext>
            </a:extLst>
          </p:cNvPr>
          <p:cNvSpPr/>
          <p:nvPr/>
        </p:nvSpPr>
        <p:spPr>
          <a:xfrm>
            <a:off x="6342460" y="2292226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9C243-9785-49EB-BE6B-916CAAA3591C}"/>
              </a:ext>
            </a:extLst>
          </p:cNvPr>
          <p:cNvSpPr/>
          <p:nvPr/>
        </p:nvSpPr>
        <p:spPr>
          <a:xfrm>
            <a:off x="726363" y="327018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Bucket Index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7F25458-AA07-4D37-8260-62C7F4F96CCF}"/>
              </a:ext>
            </a:extLst>
          </p:cNvPr>
          <p:cNvSpPr/>
          <p:nvPr/>
        </p:nvSpPr>
        <p:spPr>
          <a:xfrm>
            <a:off x="737359" y="3601700"/>
            <a:ext cx="10766995" cy="307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</a:t>
            </a:r>
            <a:r>
              <a:rPr kumimoji="0" lang="en-US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ccount I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E4CE24-F0B5-4FCB-A7AF-7CA53BA32F09}"/>
              </a:ext>
            </a:extLst>
          </p:cNvPr>
          <p:cNvSpPr/>
          <p:nvPr/>
        </p:nvSpPr>
        <p:spPr>
          <a:xfrm>
            <a:off x="784493" y="4223869"/>
            <a:ext cx="10766995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cket List In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6DF88EA-0A3C-4353-B30C-4E405F1CDB33}"/>
              </a:ext>
            </a:extLst>
          </p:cNvPr>
          <p:cNvSpPr/>
          <p:nvPr/>
        </p:nvSpPr>
        <p:spPr>
          <a:xfrm>
            <a:off x="795489" y="4555380"/>
            <a:ext cx="10766995" cy="41483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Acct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/Bucket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​Obj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​ Multipart obj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, Version list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nd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Storage Set Index 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494CC8-3EF4-4740-96BB-CE9FCD371651}"/>
              </a:ext>
            </a:extLst>
          </p:cNvPr>
          <p:cNvSpPr/>
          <p:nvPr/>
        </p:nvSpPr>
        <p:spPr>
          <a:xfrm>
            <a:off x="631567" y="5320993"/>
            <a:ext cx="5073113" cy="307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 List Index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E2E387-2D51-498D-A7CB-8DB9D5493074}"/>
              </a:ext>
            </a:extLst>
          </p:cNvPr>
          <p:cNvSpPr/>
          <p:nvPr/>
        </p:nvSpPr>
        <p:spPr>
          <a:xfrm>
            <a:off x="655031" y="5652504"/>
            <a:ext cx="5053323" cy="54001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Ke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ObjectNam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​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</a:rPr>
              <a:t>Valu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 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m_oi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Pool Version, Layout ID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7369713D-AE5B-48EF-84D6-29DA8C426BB8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7660238" y="3356544"/>
            <a:ext cx="646202" cy="4184604"/>
          </a:xfrm>
          <a:prstGeom prst="bentConnector4">
            <a:avLst>
              <a:gd name="adj1" fmla="val 101751"/>
              <a:gd name="adj2" fmla="val 50557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ight Brace 14">
            <a:extLst>
              <a:ext uri="{FF2B5EF4-FFF2-40B4-BE49-F238E27FC236}">
                <a16:creationId xmlns:a16="http://schemas.microsoft.com/office/drawing/2014/main" id="{82170952-E900-4EBB-927B-77D887E5F2AC}"/>
              </a:ext>
            </a:extLst>
          </p:cNvPr>
          <p:cNvSpPr/>
          <p:nvPr/>
        </p:nvSpPr>
        <p:spPr>
          <a:xfrm rot="16200000" flipH="1">
            <a:off x="10029064" y="4049230"/>
            <a:ext cx="93153" cy="2059877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267887-F731-4C4D-AC6A-1B2D40FA5A8C}"/>
              </a:ext>
            </a:extLst>
          </p:cNvPr>
          <p:cNvSpPr txBox="1"/>
          <p:nvPr/>
        </p:nvSpPr>
        <p:spPr>
          <a:xfrm>
            <a:off x="6315959" y="5125620"/>
            <a:ext cx="348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ew Field to find  storage set of</a:t>
            </a: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‘Object List Index’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CB633D-B5F2-4468-8FA4-3DF1F1D254D3}"/>
              </a:ext>
            </a:extLst>
          </p:cNvPr>
          <p:cNvSpPr/>
          <p:nvPr/>
        </p:nvSpPr>
        <p:spPr>
          <a:xfrm>
            <a:off x="9083408" y="6153183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FCA3CC-1BAF-4E01-BF3E-12C6C883A036}"/>
              </a:ext>
            </a:extLst>
          </p:cNvPr>
          <p:cNvSpPr/>
          <p:nvPr/>
        </p:nvSpPr>
        <p:spPr>
          <a:xfrm>
            <a:off x="9424343" y="6154751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D7F421-5FAF-497C-866F-9B46C4F65AB9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851548" y="6055693"/>
            <a:ext cx="4093983" cy="191035"/>
          </a:xfrm>
          <a:prstGeom prst="bentConnector3">
            <a:avLst>
              <a:gd name="adj1" fmla="val 50000"/>
            </a:avLst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F0CBC17F-1F65-42D1-8D12-A6B3D17AA17A}"/>
              </a:ext>
            </a:extLst>
          </p:cNvPr>
          <p:cNvSpPr/>
          <p:nvPr/>
        </p:nvSpPr>
        <p:spPr>
          <a:xfrm>
            <a:off x="10048086" y="6156320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7CF1615-ADE2-4055-84CE-907EAAF684B9}"/>
              </a:ext>
            </a:extLst>
          </p:cNvPr>
          <p:cNvSpPr/>
          <p:nvPr/>
        </p:nvSpPr>
        <p:spPr>
          <a:xfrm>
            <a:off x="10709533" y="6139035"/>
            <a:ext cx="345820" cy="194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8A977D3-9284-4591-8479-C4B9EB9CC194}"/>
              </a:ext>
            </a:extLst>
          </p:cNvPr>
          <p:cNvSpPr txBox="1"/>
          <p:nvPr/>
        </p:nvSpPr>
        <p:spPr>
          <a:xfrm>
            <a:off x="7392185" y="5909617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226250-5768-4062-A465-14159C6356F9}"/>
              </a:ext>
            </a:extLst>
          </p:cNvPr>
          <p:cNvSpPr/>
          <p:nvPr/>
        </p:nvSpPr>
        <p:spPr>
          <a:xfrm>
            <a:off x="8945531" y="6052523"/>
            <a:ext cx="2263264" cy="3884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09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4A0EB7DD-34D2-473B-A375-384AF162D079}"/>
              </a:ext>
            </a:extLst>
          </p:cNvPr>
          <p:cNvSpPr/>
          <p:nvPr/>
        </p:nvSpPr>
        <p:spPr>
          <a:xfrm>
            <a:off x="322219" y="1064686"/>
            <a:ext cx="5098865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1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F5C8CCF6-5E3E-4FAE-A0BE-E1B8096AAEF9}"/>
              </a:ext>
            </a:extLst>
          </p:cNvPr>
          <p:cNvSpPr/>
          <p:nvPr/>
        </p:nvSpPr>
        <p:spPr>
          <a:xfrm>
            <a:off x="2870104" y="1539451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3184DE-D02B-495A-A112-F1886A01C2A3}"/>
              </a:ext>
            </a:extLst>
          </p:cNvPr>
          <p:cNvSpPr/>
          <p:nvPr/>
        </p:nvSpPr>
        <p:spPr>
          <a:xfrm>
            <a:off x="314672" y="549671"/>
            <a:ext cx="11565041" cy="3074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work</a:t>
            </a:r>
          </a:p>
        </p:txBody>
      </p:sp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341526" y="-4372"/>
            <a:ext cx="7419756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EBE49"/>
                </a:solidFill>
                <a:effectLst/>
                <a:uLnTx/>
                <a:uFillTx/>
                <a:latin typeface="Arial"/>
                <a:ea typeface="+mj-ea"/>
              </a:rPr>
              <a:t>Storage Set Detail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1EB589-B668-44A4-BEB8-AF2956293F47}"/>
              </a:ext>
            </a:extLst>
          </p:cNvPr>
          <p:cNvGrpSpPr/>
          <p:nvPr/>
        </p:nvGrpSpPr>
        <p:grpSpPr>
          <a:xfrm>
            <a:off x="322222" y="4315336"/>
            <a:ext cx="5129346" cy="1972251"/>
            <a:chOff x="322222" y="4489508"/>
            <a:chExt cx="5129346" cy="197225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A63DA23-7B21-4615-BCB0-07ACEF7C223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7EC73BF-159D-4F9E-BEDB-DB8B4415C279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Can 8">
                  <a:extLst>
                    <a:ext uri="{FF2B5EF4-FFF2-40B4-BE49-F238E27FC236}">
                      <a16:creationId xmlns:a16="http://schemas.microsoft.com/office/drawing/2014/main" id="{7C1E8E77-E8AD-4664-BFD9-37752D87B08C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EDB66DF-4F69-41E0-8C1B-F7AF82FD93DB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55" name="Can 8">
                  <a:extLst>
                    <a:ext uri="{FF2B5EF4-FFF2-40B4-BE49-F238E27FC236}">
                      <a16:creationId xmlns:a16="http://schemas.microsoft.com/office/drawing/2014/main" id="{472EB162-3051-44A0-923E-986114805365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BC1017B3-E606-4CDA-9131-EF750626D34A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57" name="Can 8">
                  <a:extLst>
                    <a:ext uri="{FF2B5EF4-FFF2-40B4-BE49-F238E27FC236}">
                      <a16:creationId xmlns:a16="http://schemas.microsoft.com/office/drawing/2014/main" id="{3142C01F-36B4-4244-8300-FA343CF23D16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Can 8">
                  <a:extLst>
                    <a:ext uri="{FF2B5EF4-FFF2-40B4-BE49-F238E27FC236}">
                      <a16:creationId xmlns:a16="http://schemas.microsoft.com/office/drawing/2014/main" id="{7AC5ED97-B4DE-4625-ACEC-48EB8B7D00D5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Can 8">
                  <a:extLst>
                    <a:ext uri="{FF2B5EF4-FFF2-40B4-BE49-F238E27FC236}">
                      <a16:creationId xmlns:a16="http://schemas.microsoft.com/office/drawing/2014/main" id="{4B121A0B-4810-4FAA-95C5-4F00E6EFAA26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Can 8">
                  <a:extLst>
                    <a:ext uri="{FF2B5EF4-FFF2-40B4-BE49-F238E27FC236}">
                      <a16:creationId xmlns:a16="http://schemas.microsoft.com/office/drawing/2014/main" id="{56FD2B2D-0A50-4326-AE6B-0BA23A68CADD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1" name="Can 8">
                  <a:extLst>
                    <a:ext uri="{FF2B5EF4-FFF2-40B4-BE49-F238E27FC236}">
                      <a16:creationId xmlns:a16="http://schemas.microsoft.com/office/drawing/2014/main" id="{BC8660BA-5FA9-41D8-B2E3-E9B8CEBC398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9270FF5-25DC-4BF7-8C74-25024D7364DB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C574BBE-8332-4FB2-8FE2-C88E8BD10F43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AA77BED-54EC-472B-975D-4101F4C76B7E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7451866-8AF0-4BEA-B047-48A9B807C08B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317866" y="3061238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ED94E25-2306-4E47-9D5C-7168F9039674}"/>
              </a:ext>
            </a:extLst>
          </p:cNvPr>
          <p:cNvGrpSpPr/>
          <p:nvPr/>
        </p:nvGrpSpPr>
        <p:grpSpPr>
          <a:xfrm>
            <a:off x="2957068" y="3139971"/>
            <a:ext cx="2348132" cy="670178"/>
            <a:chOff x="2957068" y="3139971"/>
            <a:chExt cx="2348132" cy="670178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9C860C0-6F1E-4EC7-919F-942A43590637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2135A0-E2F2-4AD6-A373-0EF3117D2C6B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14" name="Can 8">
                <a:extLst>
                  <a:ext uri="{FF2B5EF4-FFF2-40B4-BE49-F238E27FC236}">
                    <a16:creationId xmlns:a16="http://schemas.microsoft.com/office/drawing/2014/main" id="{0CEC8621-4D36-4E88-B564-62DFC977325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Can 8">
                <a:extLst>
                  <a:ext uri="{FF2B5EF4-FFF2-40B4-BE49-F238E27FC236}">
                    <a16:creationId xmlns:a16="http://schemas.microsoft.com/office/drawing/2014/main" id="{445699B7-D683-4BB3-953A-B26D41E8597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Can 8">
                <a:extLst>
                  <a:ext uri="{FF2B5EF4-FFF2-40B4-BE49-F238E27FC236}">
                    <a16:creationId xmlns:a16="http://schemas.microsoft.com/office/drawing/2014/main" id="{0B99A77C-BAFE-453E-88CC-44A79DFDEED3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Can 8">
                <a:extLst>
                  <a:ext uri="{FF2B5EF4-FFF2-40B4-BE49-F238E27FC236}">
                    <a16:creationId xmlns:a16="http://schemas.microsoft.com/office/drawing/2014/main" id="{4E1AA41F-82BA-4005-A396-6CD2528F32A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Can 8">
                <a:extLst>
                  <a:ext uri="{FF2B5EF4-FFF2-40B4-BE49-F238E27FC236}">
                    <a16:creationId xmlns:a16="http://schemas.microsoft.com/office/drawing/2014/main" id="{1F7EAAAA-29B8-4A72-A877-E21FFEC2E7FD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9" name="Can 8">
                <a:extLst>
                  <a:ext uri="{FF2B5EF4-FFF2-40B4-BE49-F238E27FC236}">
                    <a16:creationId xmlns:a16="http://schemas.microsoft.com/office/drawing/2014/main" id="{1E6BD5D2-71FF-494D-87D8-0BD65D1FB939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Can 8">
                <a:extLst>
                  <a:ext uri="{FF2B5EF4-FFF2-40B4-BE49-F238E27FC236}">
                    <a16:creationId xmlns:a16="http://schemas.microsoft.com/office/drawing/2014/main" id="{7925BDD0-3E47-4D17-90F5-AE005E428CE1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Can 8">
                <a:extLst>
                  <a:ext uri="{FF2B5EF4-FFF2-40B4-BE49-F238E27FC236}">
                    <a16:creationId xmlns:a16="http://schemas.microsoft.com/office/drawing/2014/main" id="{62B7AC08-9003-4A1D-AC94-191912D6366C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7C25BC9-D555-4607-B990-A1D8F8CE0F17}"/>
              </a:ext>
            </a:extLst>
          </p:cNvPr>
          <p:cNvGrpSpPr/>
          <p:nvPr/>
        </p:nvGrpSpPr>
        <p:grpSpPr>
          <a:xfrm>
            <a:off x="479476" y="3135617"/>
            <a:ext cx="2348132" cy="670178"/>
            <a:chOff x="2957068" y="3139971"/>
            <a:chExt cx="2348132" cy="670178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AC6DE11-D9F9-47F4-8616-D7D4ADB0D615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7192B7EB-2463-4D53-AE1F-787B875CBD9F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29" name="Can 8">
                <a:extLst>
                  <a:ext uri="{FF2B5EF4-FFF2-40B4-BE49-F238E27FC236}">
                    <a16:creationId xmlns:a16="http://schemas.microsoft.com/office/drawing/2014/main" id="{5ACFA160-12B0-409F-B7A8-709089FB8533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Can 8">
                <a:extLst>
                  <a:ext uri="{FF2B5EF4-FFF2-40B4-BE49-F238E27FC236}">
                    <a16:creationId xmlns:a16="http://schemas.microsoft.com/office/drawing/2014/main" id="{9868401F-39BF-4CAF-AC0C-2A43AEDF204C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Can 8">
                <a:extLst>
                  <a:ext uri="{FF2B5EF4-FFF2-40B4-BE49-F238E27FC236}">
                    <a16:creationId xmlns:a16="http://schemas.microsoft.com/office/drawing/2014/main" id="{A2E50A3F-415B-4648-82BA-AF1E625A404E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Can 8">
                <a:extLst>
                  <a:ext uri="{FF2B5EF4-FFF2-40B4-BE49-F238E27FC236}">
                    <a16:creationId xmlns:a16="http://schemas.microsoft.com/office/drawing/2014/main" id="{D9016686-48DA-4CB8-AF34-4192E16D3DA5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Can 8">
                <a:extLst>
                  <a:ext uri="{FF2B5EF4-FFF2-40B4-BE49-F238E27FC236}">
                    <a16:creationId xmlns:a16="http://schemas.microsoft.com/office/drawing/2014/main" id="{78AFE95C-4973-4BEB-AAC8-109D16B406F3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4" name="Can 8">
                <a:extLst>
                  <a:ext uri="{FF2B5EF4-FFF2-40B4-BE49-F238E27FC236}">
                    <a16:creationId xmlns:a16="http://schemas.microsoft.com/office/drawing/2014/main" id="{7C766F5C-1DEE-4253-B968-B750D75A1E94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Can 8">
                <a:extLst>
                  <a:ext uri="{FF2B5EF4-FFF2-40B4-BE49-F238E27FC236}">
                    <a16:creationId xmlns:a16="http://schemas.microsoft.com/office/drawing/2014/main" id="{1FA8D815-42E2-4CF1-B15F-58376E2393C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Can 8">
                <a:extLst>
                  <a:ext uri="{FF2B5EF4-FFF2-40B4-BE49-F238E27FC236}">
                    <a16:creationId xmlns:a16="http://schemas.microsoft.com/office/drawing/2014/main" id="{3B338A78-9FC7-4B56-B8FC-FDD41B91987B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EC1B5AB5-6BE0-4F7D-932C-E81B454F69E9}"/>
              </a:ext>
            </a:extLst>
          </p:cNvPr>
          <p:cNvSpPr/>
          <p:nvPr/>
        </p:nvSpPr>
        <p:spPr>
          <a:xfrm>
            <a:off x="418634" y="1526390"/>
            <a:ext cx="2348132" cy="95444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tr-1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E3FEB66-207D-4C7C-BE5A-F1BA5E779058}"/>
              </a:ext>
            </a:extLst>
          </p:cNvPr>
          <p:cNvGrpSpPr/>
          <p:nvPr/>
        </p:nvGrpSpPr>
        <p:grpSpPr>
          <a:xfrm>
            <a:off x="470886" y="1915811"/>
            <a:ext cx="2343648" cy="1135095"/>
            <a:chOff x="470886" y="1915811"/>
            <a:chExt cx="2343648" cy="113509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41101200-C769-4742-9507-CEC4DDB20BFE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17" name="Connector: Elbow 16">
              <a:extLst>
                <a:ext uri="{FF2B5EF4-FFF2-40B4-BE49-F238E27FC236}">
                  <a16:creationId xmlns:a16="http://schemas.microsoft.com/office/drawing/2014/main" id="{5CC70D83-5DD6-4386-B8A0-9A4E5029E35A}"/>
                </a:ext>
              </a:extLst>
            </p:cNvPr>
            <p:cNvCxnSpPr>
              <a:cxnSpLocks/>
              <a:stCxn id="138" idx="2"/>
              <a:endCxn id="150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FE4E9A17-4D22-4239-899F-32842E0B1A64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7" name="Connector: Elbow 136">
              <a:extLst>
                <a:ext uri="{FF2B5EF4-FFF2-40B4-BE49-F238E27FC236}">
                  <a16:creationId xmlns:a16="http://schemas.microsoft.com/office/drawing/2014/main" id="{5A13C606-F00B-4EC5-9A23-B0F5919D2DA0}"/>
                </a:ext>
              </a:extLst>
            </p:cNvPr>
            <p:cNvCxnSpPr>
              <a:cxnSpLocks/>
              <a:stCxn id="14" idx="2"/>
              <a:endCxn id="22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642EE853-2262-447A-BCAB-4EB2E6076157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150" name="Left Brace 149">
              <a:extLst>
                <a:ext uri="{FF2B5EF4-FFF2-40B4-BE49-F238E27FC236}">
                  <a16:creationId xmlns:a16="http://schemas.microsoft.com/office/drawing/2014/main" id="{27A993BB-EFDB-4D5E-9D37-33C0E0931D6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B918E91C-06CF-492C-8F37-69A7DB84E027}"/>
              </a:ext>
            </a:extLst>
          </p:cNvPr>
          <p:cNvGrpSpPr/>
          <p:nvPr/>
        </p:nvGrpSpPr>
        <p:grpSpPr>
          <a:xfrm>
            <a:off x="2983312" y="1925699"/>
            <a:ext cx="2343648" cy="1138268"/>
            <a:chOff x="470886" y="1912638"/>
            <a:chExt cx="2343648" cy="1138268"/>
          </a:xfrm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CFB7FC7C-7453-471F-ABCA-67B8AD0860D2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156" name="Connector: Elbow 155">
              <a:extLst>
                <a:ext uri="{FF2B5EF4-FFF2-40B4-BE49-F238E27FC236}">
                  <a16:creationId xmlns:a16="http://schemas.microsoft.com/office/drawing/2014/main" id="{3514C170-FD35-49AF-AD2D-FB9621B44041}"/>
                </a:ext>
              </a:extLst>
            </p:cNvPr>
            <p:cNvCxnSpPr>
              <a:cxnSpLocks/>
              <a:stCxn id="159" idx="2"/>
              <a:endCxn id="160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Left Brace 156">
              <a:extLst>
                <a:ext uri="{FF2B5EF4-FFF2-40B4-BE49-F238E27FC236}">
                  <a16:creationId xmlns:a16="http://schemas.microsoft.com/office/drawing/2014/main" id="{2A264C4A-1579-4B2D-8FED-F1C1C981A906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Connector: Elbow 157">
              <a:extLst>
                <a:ext uri="{FF2B5EF4-FFF2-40B4-BE49-F238E27FC236}">
                  <a16:creationId xmlns:a16="http://schemas.microsoft.com/office/drawing/2014/main" id="{8A4716C9-D5ED-403C-B1E3-D9856992EEAC}"/>
                </a:ext>
              </a:extLst>
            </p:cNvPr>
            <p:cNvCxnSpPr>
              <a:cxnSpLocks/>
              <a:stCxn id="155" idx="2"/>
              <a:endCxn id="157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: Rounded Corners 158">
              <a:extLst>
                <a:ext uri="{FF2B5EF4-FFF2-40B4-BE49-F238E27FC236}">
                  <a16:creationId xmlns:a16="http://schemas.microsoft.com/office/drawing/2014/main" id="{6C5714ED-AB41-48C9-BC99-425B9598CED8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160" name="Left Brace 159">
              <a:extLst>
                <a:ext uri="{FF2B5EF4-FFF2-40B4-BE49-F238E27FC236}">
                  <a16:creationId xmlns:a16="http://schemas.microsoft.com/office/drawing/2014/main" id="{79557C7F-6A3B-45D0-9217-1A06025113C8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5505A7F2-E9C7-4AC9-AF56-26964937AC24}"/>
              </a:ext>
            </a:extLst>
          </p:cNvPr>
          <p:cNvCxnSpPr>
            <a:stCxn id="14" idx="3"/>
            <a:endCxn id="138" idx="1"/>
          </p:cNvCxnSpPr>
          <p:nvPr/>
        </p:nvCxnSpPr>
        <p:spPr>
          <a:xfrm>
            <a:off x="1349311" y="2159601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F12B7D1-FEAE-4832-BA40-B9F5FAE22B71}"/>
              </a:ext>
            </a:extLst>
          </p:cNvPr>
          <p:cNvCxnSpPr>
            <a:cxnSpLocks/>
            <a:stCxn id="155" idx="3"/>
          </p:cNvCxnSpPr>
          <p:nvPr/>
        </p:nvCxnSpPr>
        <p:spPr>
          <a:xfrm flipV="1">
            <a:off x="3855839" y="2169488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Up-Down 169">
            <a:extLst>
              <a:ext uri="{FF2B5EF4-FFF2-40B4-BE49-F238E27FC236}">
                <a16:creationId xmlns:a16="http://schemas.microsoft.com/office/drawing/2014/main" id="{5693DBA7-780E-4D47-B0AB-E4E4DE7DD15A}"/>
              </a:ext>
            </a:extLst>
          </p:cNvPr>
          <p:cNvSpPr/>
          <p:nvPr/>
        </p:nvSpPr>
        <p:spPr>
          <a:xfrm>
            <a:off x="2766766" y="844108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9175DDC3-A42F-4128-B808-B057BD5B6C3B}"/>
              </a:ext>
            </a:extLst>
          </p:cNvPr>
          <p:cNvSpPr/>
          <p:nvPr/>
        </p:nvSpPr>
        <p:spPr>
          <a:xfrm>
            <a:off x="6779641" y="1069035"/>
            <a:ext cx="5124990" cy="1503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rver : N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969723FA-891D-4536-A2A2-D2E21C4D4C60}"/>
              </a:ext>
            </a:extLst>
          </p:cNvPr>
          <p:cNvSpPr/>
          <p:nvPr/>
        </p:nvSpPr>
        <p:spPr>
          <a:xfrm>
            <a:off x="9353650" y="1543800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2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F000CAD-DCEC-41E2-888E-95FB49E0075D}"/>
              </a:ext>
            </a:extLst>
          </p:cNvPr>
          <p:cNvGrpSpPr/>
          <p:nvPr/>
        </p:nvGrpSpPr>
        <p:grpSpPr>
          <a:xfrm>
            <a:off x="6805768" y="4354517"/>
            <a:ext cx="5129346" cy="1972251"/>
            <a:chOff x="322222" y="4489508"/>
            <a:chExt cx="5129346" cy="1972251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384647D-CCD8-4091-9AC4-6DE6FFED06D4}"/>
                </a:ext>
              </a:extLst>
            </p:cNvPr>
            <p:cNvSpPr/>
            <p:nvPr/>
          </p:nvSpPr>
          <p:spPr>
            <a:xfrm>
              <a:off x="322222" y="4489508"/>
              <a:ext cx="5129346" cy="1972251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closure 1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E6249A4-8271-4D35-B1F6-64D6BE4E2E2B}"/>
                </a:ext>
              </a:extLst>
            </p:cNvPr>
            <p:cNvGrpSpPr/>
            <p:nvPr/>
          </p:nvGrpSpPr>
          <p:grpSpPr>
            <a:xfrm>
              <a:off x="430103" y="5795974"/>
              <a:ext cx="4842937" cy="499698"/>
              <a:chOff x="525898" y="5212498"/>
              <a:chExt cx="4842937" cy="49969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40760EB6-01AA-4161-928B-55357C411990}"/>
                  </a:ext>
                </a:extLst>
              </p:cNvPr>
              <p:cNvGrpSpPr/>
              <p:nvPr/>
            </p:nvGrpSpPr>
            <p:grpSpPr>
              <a:xfrm>
                <a:off x="525898" y="5212498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9" name="Can 8">
                  <a:extLst>
                    <a:ext uri="{FF2B5EF4-FFF2-40B4-BE49-F238E27FC236}">
                      <a16:creationId xmlns:a16="http://schemas.microsoft.com/office/drawing/2014/main" id="{9493AB08-CC0F-4C3D-BF25-EFC69CABC7E1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0" name="Rectangle 189">
                  <a:extLst>
                    <a:ext uri="{FF2B5EF4-FFF2-40B4-BE49-F238E27FC236}">
                      <a16:creationId xmlns:a16="http://schemas.microsoft.com/office/drawing/2014/main" id="{080F0C3D-ED46-4B9F-A4C6-E0A0F249F5F1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</a:t>
                  </a:r>
                </a:p>
              </p:txBody>
            </p:sp>
            <p:sp>
              <p:nvSpPr>
                <p:cNvPr id="191" name="Can 8">
                  <a:extLst>
                    <a:ext uri="{FF2B5EF4-FFF2-40B4-BE49-F238E27FC236}">
                      <a16:creationId xmlns:a16="http://schemas.microsoft.com/office/drawing/2014/main" id="{6595E928-54D9-4CAA-AAC9-D2003E8AC0FB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Can 8">
                  <a:extLst>
                    <a:ext uri="{FF2B5EF4-FFF2-40B4-BE49-F238E27FC236}">
                      <a16:creationId xmlns:a16="http://schemas.microsoft.com/office/drawing/2014/main" id="{7B449C9D-069B-4457-8C4B-BD37547F3376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Can 8">
                  <a:extLst>
                    <a:ext uri="{FF2B5EF4-FFF2-40B4-BE49-F238E27FC236}">
                      <a16:creationId xmlns:a16="http://schemas.microsoft.com/office/drawing/2014/main" id="{D2DF44DE-2442-40A4-8E6F-867FBF8DDA82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Can 8">
                  <a:extLst>
                    <a:ext uri="{FF2B5EF4-FFF2-40B4-BE49-F238E27FC236}">
                      <a16:creationId xmlns:a16="http://schemas.microsoft.com/office/drawing/2014/main" id="{8DD4987F-BEBD-4AC0-BAC4-1FE1A6A94EE7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5" name="Can 8">
                  <a:extLst>
                    <a:ext uri="{FF2B5EF4-FFF2-40B4-BE49-F238E27FC236}">
                      <a16:creationId xmlns:a16="http://schemas.microsoft.com/office/drawing/2014/main" id="{698BDD04-5F21-417A-A116-525D678B2B4B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FBC9F178-7AFF-4535-BBCA-AAB6082417B2}"/>
                  </a:ext>
                </a:extLst>
              </p:cNvPr>
              <p:cNvGrpSpPr/>
              <p:nvPr/>
            </p:nvGrpSpPr>
            <p:grpSpPr>
              <a:xfrm>
                <a:off x="3012195" y="5225557"/>
                <a:ext cx="2356640" cy="486639"/>
                <a:chOff x="769738" y="5212498"/>
                <a:chExt cx="2356640" cy="486639"/>
              </a:xfrm>
            </p:grpSpPr>
            <p:sp>
              <p:nvSpPr>
                <p:cNvPr id="182" name="Can 8">
                  <a:extLst>
                    <a:ext uri="{FF2B5EF4-FFF2-40B4-BE49-F238E27FC236}">
                      <a16:creationId xmlns:a16="http://schemas.microsoft.com/office/drawing/2014/main" id="{A51E3875-2F85-41DA-AA92-E2A9CD93422C}"/>
                    </a:ext>
                  </a:extLst>
                </p:cNvPr>
                <p:cNvSpPr/>
                <p:nvPr/>
              </p:nvSpPr>
              <p:spPr>
                <a:xfrm>
                  <a:off x="887188" y="54303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Rectangle 182">
                  <a:extLst>
                    <a:ext uri="{FF2B5EF4-FFF2-40B4-BE49-F238E27FC236}">
                      <a16:creationId xmlns:a16="http://schemas.microsoft.com/office/drawing/2014/main" id="{EB4608C5-F6F7-4419-B1A7-97FA3BC1E1C2}"/>
                    </a:ext>
                  </a:extLst>
                </p:cNvPr>
                <p:cNvSpPr/>
                <p:nvPr/>
              </p:nvSpPr>
              <p:spPr>
                <a:xfrm>
                  <a:off x="769738" y="5212498"/>
                  <a:ext cx="2356640" cy="486639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2 (DG2)</a:t>
                  </a:r>
                </a:p>
              </p:txBody>
            </p:sp>
            <p:sp>
              <p:nvSpPr>
                <p:cNvPr id="184" name="Can 8">
                  <a:extLst>
                    <a:ext uri="{FF2B5EF4-FFF2-40B4-BE49-F238E27FC236}">
                      <a16:creationId xmlns:a16="http://schemas.microsoft.com/office/drawing/2014/main" id="{35CF2B7E-6391-42EA-BF56-86DCE9164A1D}"/>
                    </a:ext>
                  </a:extLst>
                </p:cNvPr>
                <p:cNvSpPr/>
                <p:nvPr/>
              </p:nvSpPr>
              <p:spPr>
                <a:xfrm>
                  <a:off x="126601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5" name="Can 8">
                  <a:extLst>
                    <a:ext uri="{FF2B5EF4-FFF2-40B4-BE49-F238E27FC236}">
                      <a16:creationId xmlns:a16="http://schemas.microsoft.com/office/drawing/2014/main" id="{95700274-9099-43BD-9E02-BB1644CC90A4}"/>
                    </a:ext>
                  </a:extLst>
                </p:cNvPr>
                <p:cNvSpPr/>
                <p:nvPr/>
              </p:nvSpPr>
              <p:spPr>
                <a:xfrm>
                  <a:off x="1640483" y="543470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Can 8">
                  <a:extLst>
                    <a:ext uri="{FF2B5EF4-FFF2-40B4-BE49-F238E27FC236}">
                      <a16:creationId xmlns:a16="http://schemas.microsoft.com/office/drawing/2014/main" id="{46290B34-D7BC-498B-AAEE-0E0FA5208C3A}"/>
                    </a:ext>
                  </a:extLst>
                </p:cNvPr>
                <p:cNvSpPr/>
                <p:nvPr/>
              </p:nvSpPr>
              <p:spPr>
                <a:xfrm>
                  <a:off x="2019308" y="5439058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7" name="Can 8">
                  <a:extLst>
                    <a:ext uri="{FF2B5EF4-FFF2-40B4-BE49-F238E27FC236}">
                      <a16:creationId xmlns:a16="http://schemas.microsoft.com/office/drawing/2014/main" id="{1193355D-D9C7-4B35-8998-EBB322937DB8}"/>
                    </a:ext>
                  </a:extLst>
                </p:cNvPr>
                <p:cNvSpPr/>
                <p:nvPr/>
              </p:nvSpPr>
              <p:spPr>
                <a:xfrm>
                  <a:off x="237635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8" name="Can 8">
                  <a:extLst>
                    <a:ext uri="{FF2B5EF4-FFF2-40B4-BE49-F238E27FC236}">
                      <a16:creationId xmlns:a16="http://schemas.microsoft.com/office/drawing/2014/main" id="{880B65DA-69FF-49CF-8E3C-DECD81AB4CB6}"/>
                    </a:ext>
                  </a:extLst>
                </p:cNvPr>
                <p:cNvSpPr/>
                <p:nvPr/>
              </p:nvSpPr>
              <p:spPr>
                <a:xfrm>
                  <a:off x="2750827" y="5447765"/>
                  <a:ext cx="263399" cy="217085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2D010092-5B93-45F0-9178-5C12A8507938}"/>
                </a:ext>
              </a:extLst>
            </p:cNvPr>
            <p:cNvSpPr/>
            <p:nvPr/>
          </p:nvSpPr>
          <p:spPr>
            <a:xfrm>
              <a:off x="430103" y="5162385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1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5B2E86-BDFB-4C66-9666-AB7489AB50DF}"/>
                </a:ext>
              </a:extLst>
            </p:cNvPr>
            <p:cNvSpPr/>
            <p:nvPr/>
          </p:nvSpPr>
          <p:spPr>
            <a:xfrm>
              <a:off x="2925109" y="5158030"/>
              <a:ext cx="2356640" cy="2523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roller 2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6421D894-BF56-4D46-995F-E4DD3C8E206C}"/>
                </a:ext>
              </a:extLst>
            </p:cNvPr>
            <p:cNvSpPr/>
            <p:nvPr/>
          </p:nvSpPr>
          <p:spPr>
            <a:xfrm>
              <a:off x="432966" y="5506379"/>
              <a:ext cx="4860048" cy="20623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S Expanders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2ECFDD2E-7A4F-40DB-A965-FA3AA14EC1A6}"/>
                </a:ext>
              </a:extLst>
            </p:cNvPr>
            <p:cNvSpPr/>
            <p:nvPr/>
          </p:nvSpPr>
          <p:spPr>
            <a:xfrm>
              <a:off x="421701" y="4856773"/>
              <a:ext cx="4860048" cy="2268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irmware (ADAPT)</a:t>
              </a:r>
            </a:p>
          </p:txBody>
        </p:sp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47FDBE8-955F-431F-A11C-99329FA41C47}"/>
              </a:ext>
            </a:extLst>
          </p:cNvPr>
          <p:cNvSpPr/>
          <p:nvPr/>
        </p:nvSpPr>
        <p:spPr>
          <a:xfrm>
            <a:off x="6801412" y="3065587"/>
            <a:ext cx="5129346" cy="1104688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Layer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1C840FB6-4D24-488E-8781-372BBE007DF9}"/>
              </a:ext>
            </a:extLst>
          </p:cNvPr>
          <p:cNvGrpSpPr/>
          <p:nvPr/>
        </p:nvGrpSpPr>
        <p:grpSpPr>
          <a:xfrm>
            <a:off x="9440614" y="3144320"/>
            <a:ext cx="2348132" cy="670178"/>
            <a:chOff x="2957068" y="3139971"/>
            <a:chExt cx="2348132" cy="670178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8D72FFC-DE8C-41C2-85A3-1F876F75BC16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B17ED9-D653-41CB-AD6B-3B11EFA3817D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406668"/>
              <a:chOff x="3029499" y="3405274"/>
              <a:chExt cx="2165173" cy="406668"/>
            </a:xfrm>
          </p:grpSpPr>
          <p:sp>
            <p:nvSpPr>
              <p:cNvPr id="200" name="Can 8">
                <a:extLst>
                  <a:ext uri="{FF2B5EF4-FFF2-40B4-BE49-F238E27FC236}">
                    <a16:creationId xmlns:a16="http://schemas.microsoft.com/office/drawing/2014/main" id="{C50550F6-A4C8-410C-AF09-2E0A7F2255D1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Can 8">
                <a:extLst>
                  <a:ext uri="{FF2B5EF4-FFF2-40B4-BE49-F238E27FC236}">
                    <a16:creationId xmlns:a16="http://schemas.microsoft.com/office/drawing/2014/main" id="{C209E180-B36D-4F3D-95A3-5B05A56E8479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Can 8">
                <a:extLst>
                  <a:ext uri="{FF2B5EF4-FFF2-40B4-BE49-F238E27FC236}">
                    <a16:creationId xmlns:a16="http://schemas.microsoft.com/office/drawing/2014/main" id="{A928A5E4-3DDA-4D45-844D-A6777CABD946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Can 8">
                <a:extLst>
                  <a:ext uri="{FF2B5EF4-FFF2-40B4-BE49-F238E27FC236}">
                    <a16:creationId xmlns:a16="http://schemas.microsoft.com/office/drawing/2014/main" id="{BF5A6308-249A-4959-AA81-E7F4CC848A66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Can 8">
                <a:extLst>
                  <a:ext uri="{FF2B5EF4-FFF2-40B4-BE49-F238E27FC236}">
                    <a16:creationId xmlns:a16="http://schemas.microsoft.com/office/drawing/2014/main" id="{EDF15CE1-60B3-4951-84F6-047598C4E7A8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5" name="Can 8">
                <a:extLst>
                  <a:ext uri="{FF2B5EF4-FFF2-40B4-BE49-F238E27FC236}">
                    <a16:creationId xmlns:a16="http://schemas.microsoft.com/office/drawing/2014/main" id="{BC6D9AA5-718A-4E90-A740-BE03A4D4A41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Can 8">
                <a:extLst>
                  <a:ext uri="{FF2B5EF4-FFF2-40B4-BE49-F238E27FC236}">
                    <a16:creationId xmlns:a16="http://schemas.microsoft.com/office/drawing/2014/main" id="{694686E4-1625-41D5-8C90-B2C43B97C918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Can 8">
                <a:extLst>
                  <a:ext uri="{FF2B5EF4-FFF2-40B4-BE49-F238E27FC236}">
                    <a16:creationId xmlns:a16="http://schemas.microsoft.com/office/drawing/2014/main" id="{A49FA606-A533-4394-B5D0-E00181CEF433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tx2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Can 8">
                <a:extLst>
                  <a:ext uri="{FF2B5EF4-FFF2-40B4-BE49-F238E27FC236}">
                    <a16:creationId xmlns:a16="http://schemas.microsoft.com/office/drawing/2014/main" id="{29A41D04-24AF-49CB-AA3F-415DC30194D6}"/>
                  </a:ext>
                </a:extLst>
              </p:cNvPr>
              <p:cNvSpPr/>
              <p:nvPr/>
            </p:nvSpPr>
            <p:spPr>
              <a:xfrm>
                <a:off x="4996648" y="3445692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259DF3FA-6595-47FD-B6B0-819CD9E88F7C}"/>
              </a:ext>
            </a:extLst>
          </p:cNvPr>
          <p:cNvGrpSpPr/>
          <p:nvPr/>
        </p:nvGrpSpPr>
        <p:grpSpPr>
          <a:xfrm>
            <a:off x="6963022" y="3139966"/>
            <a:ext cx="2348132" cy="670178"/>
            <a:chOff x="2957068" y="3139971"/>
            <a:chExt cx="2348132" cy="670178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94498FE-0890-45EA-9769-21D34D411F0B}"/>
                </a:ext>
              </a:extLst>
            </p:cNvPr>
            <p:cNvSpPr/>
            <p:nvPr/>
          </p:nvSpPr>
          <p:spPr>
            <a:xfrm>
              <a:off x="2957068" y="3139971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5D3C6FDD-9F3D-4036-9DA4-636B190B0127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11" name="Can 8">
                <a:extLst>
                  <a:ext uri="{FF2B5EF4-FFF2-40B4-BE49-F238E27FC236}">
                    <a16:creationId xmlns:a16="http://schemas.microsoft.com/office/drawing/2014/main" id="{BC85230D-83A0-4B73-8DCA-A33BB7811895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Can 8">
                <a:extLst>
                  <a:ext uri="{FF2B5EF4-FFF2-40B4-BE49-F238E27FC236}">
                    <a16:creationId xmlns:a16="http://schemas.microsoft.com/office/drawing/2014/main" id="{8804933D-9F03-42D6-A97B-0AAD434025DD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Can 8">
                <a:extLst>
                  <a:ext uri="{FF2B5EF4-FFF2-40B4-BE49-F238E27FC236}">
                    <a16:creationId xmlns:a16="http://schemas.microsoft.com/office/drawing/2014/main" id="{B911300A-4878-437D-8D0F-4F485CD5F6FC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Can 8">
                <a:extLst>
                  <a:ext uri="{FF2B5EF4-FFF2-40B4-BE49-F238E27FC236}">
                    <a16:creationId xmlns:a16="http://schemas.microsoft.com/office/drawing/2014/main" id="{1FFF5359-7D52-4E5E-803F-DB7622750862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Can 8">
                <a:extLst>
                  <a:ext uri="{FF2B5EF4-FFF2-40B4-BE49-F238E27FC236}">
                    <a16:creationId xmlns:a16="http://schemas.microsoft.com/office/drawing/2014/main" id="{CC44D11D-94CA-4792-8E82-04B7C5E39E6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6" name="Can 8">
                <a:extLst>
                  <a:ext uri="{FF2B5EF4-FFF2-40B4-BE49-F238E27FC236}">
                    <a16:creationId xmlns:a16="http://schemas.microsoft.com/office/drawing/2014/main" id="{A3BE5E2C-A490-4AD5-938B-6B6F390E016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Can 8">
                <a:extLst>
                  <a:ext uri="{FF2B5EF4-FFF2-40B4-BE49-F238E27FC236}">
                    <a16:creationId xmlns:a16="http://schemas.microsoft.com/office/drawing/2014/main" id="{B7E30146-618E-410E-A652-4DB916969C2C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Can 8">
                <a:extLst>
                  <a:ext uri="{FF2B5EF4-FFF2-40B4-BE49-F238E27FC236}">
                    <a16:creationId xmlns:a16="http://schemas.microsoft.com/office/drawing/2014/main" id="{25392BA6-AD4B-4E49-A9BD-1F2C123AB559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AD4499C9-503F-4A6D-846E-53DF90DC3B0F}"/>
              </a:ext>
            </a:extLst>
          </p:cNvPr>
          <p:cNvSpPr/>
          <p:nvPr/>
        </p:nvSpPr>
        <p:spPr>
          <a:xfrm>
            <a:off x="6902180" y="1530739"/>
            <a:ext cx="2348132" cy="9544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Motr-1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57C96D0-38E0-4D9F-88CD-E2DE33279EBA}"/>
              </a:ext>
            </a:extLst>
          </p:cNvPr>
          <p:cNvGrpSpPr/>
          <p:nvPr/>
        </p:nvGrpSpPr>
        <p:grpSpPr>
          <a:xfrm>
            <a:off x="6954432" y="1920160"/>
            <a:ext cx="2343648" cy="1135095"/>
            <a:chOff x="470886" y="1915811"/>
            <a:chExt cx="2343648" cy="1135095"/>
          </a:xfrm>
        </p:grpSpPr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0A3D0AAF-7FC5-46F5-AD3B-ECDEECFCFE40}"/>
                </a:ext>
              </a:extLst>
            </p:cNvPr>
            <p:cNvSpPr/>
            <p:nvPr/>
          </p:nvSpPr>
          <p:spPr>
            <a:xfrm>
              <a:off x="509314" y="1915811"/>
              <a:ext cx="839997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1</a:t>
              </a:r>
            </a:p>
          </p:txBody>
        </p:sp>
        <p:cxnSp>
          <p:nvCxnSpPr>
            <p:cNvPr id="222" name="Connector: Elbow 221">
              <a:extLst>
                <a:ext uri="{FF2B5EF4-FFF2-40B4-BE49-F238E27FC236}">
                  <a16:creationId xmlns:a16="http://schemas.microsoft.com/office/drawing/2014/main" id="{FD123314-CE0B-4F43-B249-C3C25F64744F}"/>
                </a:ext>
              </a:extLst>
            </p:cNvPr>
            <p:cNvCxnSpPr>
              <a:cxnSpLocks/>
              <a:stCxn id="225" idx="2"/>
              <a:endCxn id="226" idx="1"/>
            </p:cNvCxnSpPr>
            <p:nvPr/>
          </p:nvCxnSpPr>
          <p:spPr>
            <a:xfrm rot="16200000" flipH="1">
              <a:off x="2191386" y="2406180"/>
              <a:ext cx="444345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Left Brace 222">
              <a:extLst>
                <a:ext uri="{FF2B5EF4-FFF2-40B4-BE49-F238E27FC236}">
                  <a16:creationId xmlns:a16="http://schemas.microsoft.com/office/drawing/2014/main" id="{57A10134-E90E-471B-AB7F-559E17263082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Connector: Elbow 223">
              <a:extLst>
                <a:ext uri="{FF2B5EF4-FFF2-40B4-BE49-F238E27FC236}">
                  <a16:creationId xmlns:a16="http://schemas.microsoft.com/office/drawing/2014/main" id="{D2006577-E35F-45EF-AB9E-37154AF02B6E}"/>
                </a:ext>
              </a:extLst>
            </p:cNvPr>
            <p:cNvCxnSpPr>
              <a:cxnSpLocks/>
              <a:stCxn id="221" idx="2"/>
              <a:endCxn id="223" idx="1"/>
            </p:cNvCxnSpPr>
            <p:nvPr/>
          </p:nvCxnSpPr>
          <p:spPr>
            <a:xfrm rot="16200000" flipH="1">
              <a:off x="962410" y="2370292"/>
              <a:ext cx="454240" cy="520435"/>
            </a:xfrm>
            <a:prstGeom prst="bentConnector5">
              <a:avLst>
                <a:gd name="adj1" fmla="val 50326"/>
                <a:gd name="adj2" fmla="val 81066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FCE21126-C036-431F-AF12-AC9BBF3404B9}"/>
                </a:ext>
              </a:extLst>
            </p:cNvPr>
            <p:cNvSpPr/>
            <p:nvPr/>
          </p:nvSpPr>
          <p:spPr>
            <a:xfrm>
              <a:off x="1732715" y="1921347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1</a:t>
              </a:r>
            </a:p>
          </p:txBody>
        </p:sp>
        <p:sp>
          <p:nvSpPr>
            <p:cNvPr id="226" name="Left Brace 225">
              <a:extLst>
                <a:ext uri="{FF2B5EF4-FFF2-40B4-BE49-F238E27FC236}">
                  <a16:creationId xmlns:a16="http://schemas.microsoft.com/office/drawing/2014/main" id="{A1F70428-CAE2-4149-A489-4E89E9A42324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CD914FBD-46C8-499B-9677-0839F2A566EA}"/>
              </a:ext>
            </a:extLst>
          </p:cNvPr>
          <p:cNvGrpSpPr/>
          <p:nvPr/>
        </p:nvGrpSpPr>
        <p:grpSpPr>
          <a:xfrm>
            <a:off x="9466858" y="1930048"/>
            <a:ext cx="2343648" cy="1138268"/>
            <a:chOff x="470886" y="1912638"/>
            <a:chExt cx="2343648" cy="1138268"/>
          </a:xfrm>
        </p:grpSpPr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5581C09F-9D3B-4B41-8BC3-88143381A90D}"/>
                </a:ext>
              </a:extLst>
            </p:cNvPr>
            <p:cNvSpPr/>
            <p:nvPr/>
          </p:nvSpPr>
          <p:spPr>
            <a:xfrm>
              <a:off x="515211" y="1915811"/>
              <a:ext cx="82820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OS-2</a:t>
              </a:r>
            </a:p>
          </p:txBody>
        </p:sp>
        <p:cxnSp>
          <p:nvCxnSpPr>
            <p:cNvPr id="229" name="Connector: Elbow 228">
              <a:extLst>
                <a:ext uri="{FF2B5EF4-FFF2-40B4-BE49-F238E27FC236}">
                  <a16:creationId xmlns:a16="http://schemas.microsoft.com/office/drawing/2014/main" id="{0516712E-8823-4462-985A-7222D50B3AE1}"/>
                </a:ext>
              </a:extLst>
            </p:cNvPr>
            <p:cNvCxnSpPr>
              <a:cxnSpLocks/>
              <a:stCxn id="232" idx="2"/>
              <a:endCxn id="233" idx="1"/>
            </p:cNvCxnSpPr>
            <p:nvPr/>
          </p:nvCxnSpPr>
          <p:spPr>
            <a:xfrm rot="16200000" flipH="1">
              <a:off x="2187031" y="2401826"/>
              <a:ext cx="453054" cy="449835"/>
            </a:xfrm>
            <a:prstGeom prst="bentConnector3">
              <a:avLst>
                <a:gd name="adj1" fmla="val 50000"/>
              </a:avLst>
            </a:prstGeom>
            <a:ln w="508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0" name="Left Brace 229">
              <a:extLst>
                <a:ext uri="{FF2B5EF4-FFF2-40B4-BE49-F238E27FC236}">
                  <a16:creationId xmlns:a16="http://schemas.microsoft.com/office/drawing/2014/main" id="{74EAB12A-860A-49B7-ABD7-1B381BA834ED}"/>
                </a:ext>
              </a:extLst>
            </p:cNvPr>
            <p:cNvSpPr/>
            <p:nvPr/>
          </p:nvSpPr>
          <p:spPr>
            <a:xfrm rot="5400000">
              <a:off x="1353109" y="1975406"/>
              <a:ext cx="193277" cy="1957724"/>
            </a:xfrm>
            <a:prstGeom prst="leftBrace">
              <a:avLst/>
            </a:prstGeom>
            <a:ln w="22225">
              <a:solidFill>
                <a:srgbClr val="6699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1" name="Connector: Elbow 230">
              <a:extLst>
                <a:ext uri="{FF2B5EF4-FFF2-40B4-BE49-F238E27FC236}">
                  <a16:creationId xmlns:a16="http://schemas.microsoft.com/office/drawing/2014/main" id="{FEFCB6DA-054E-4DCE-B784-B08F06292BE2}"/>
                </a:ext>
              </a:extLst>
            </p:cNvPr>
            <p:cNvCxnSpPr>
              <a:cxnSpLocks/>
              <a:stCxn id="228" idx="2"/>
              <a:endCxn id="230" idx="1"/>
            </p:cNvCxnSpPr>
            <p:nvPr/>
          </p:nvCxnSpPr>
          <p:spPr>
            <a:xfrm rot="16200000" flipH="1">
              <a:off x="962410" y="2370292"/>
              <a:ext cx="454240" cy="520436"/>
            </a:xfrm>
            <a:prstGeom prst="bentConnector5">
              <a:avLst>
                <a:gd name="adj1" fmla="val 50326"/>
                <a:gd name="adj2" fmla="val 80500"/>
                <a:gd name="adj3" fmla="val 49674"/>
              </a:avLst>
            </a:prstGeom>
            <a:ln w="50800">
              <a:solidFill>
                <a:srgbClr val="6699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Rectangle: Rounded Corners 231">
              <a:extLst>
                <a:ext uri="{FF2B5EF4-FFF2-40B4-BE49-F238E27FC236}">
                  <a16:creationId xmlns:a16="http://schemas.microsoft.com/office/drawing/2014/main" id="{C6AFA3A2-FC9A-4992-AC55-B5364866EC69}"/>
                </a:ext>
              </a:extLst>
            </p:cNvPr>
            <p:cNvSpPr/>
            <p:nvPr/>
          </p:nvSpPr>
          <p:spPr>
            <a:xfrm>
              <a:off x="1732715" y="1912638"/>
              <a:ext cx="911852" cy="487579"/>
            </a:xfrm>
            <a:prstGeom prst="roundRect">
              <a:avLst/>
            </a:prstGeom>
            <a:solidFill>
              <a:srgbClr val="669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  <p:sp>
          <p:nvSpPr>
            <p:cNvPr id="233" name="Left Brace 232">
              <a:extLst>
                <a:ext uri="{FF2B5EF4-FFF2-40B4-BE49-F238E27FC236}">
                  <a16:creationId xmlns:a16="http://schemas.microsoft.com/office/drawing/2014/main" id="{869A61E4-CFB9-4AF6-B264-C34BB0340AA7}"/>
                </a:ext>
              </a:extLst>
            </p:cNvPr>
            <p:cNvSpPr/>
            <p:nvPr/>
          </p:nvSpPr>
          <p:spPr>
            <a:xfrm rot="5400000">
              <a:off x="2541838" y="2773852"/>
              <a:ext cx="193277" cy="352115"/>
            </a:xfrm>
            <a:prstGeom prst="leftBrac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CE892029-B0D4-4FB6-A37E-BD79E449A30B}"/>
                </a:ext>
              </a:extLst>
            </p:cNvPr>
            <p:cNvSpPr/>
            <p:nvPr/>
          </p:nvSpPr>
          <p:spPr>
            <a:xfrm>
              <a:off x="1732715" y="1923691"/>
              <a:ext cx="911852" cy="48757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S-2</a:t>
              </a:r>
            </a:p>
          </p:txBody>
        </p:sp>
      </p:grp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D181C82B-96C8-4249-AFAC-47E9066DD0E1}"/>
              </a:ext>
            </a:extLst>
          </p:cNvPr>
          <p:cNvCxnSpPr>
            <a:stCxn id="221" idx="3"/>
            <a:endCxn id="225" idx="1"/>
          </p:cNvCxnSpPr>
          <p:nvPr/>
        </p:nvCxnSpPr>
        <p:spPr>
          <a:xfrm>
            <a:off x="7832857" y="2163950"/>
            <a:ext cx="383404" cy="5536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6BD727D0-24BF-48F6-8F26-91C3F597A5AB}"/>
              </a:ext>
            </a:extLst>
          </p:cNvPr>
          <p:cNvCxnSpPr>
            <a:cxnSpLocks/>
            <a:stCxn id="228" idx="3"/>
          </p:cNvCxnSpPr>
          <p:nvPr/>
        </p:nvCxnSpPr>
        <p:spPr>
          <a:xfrm flipV="1">
            <a:off x="10339385" y="2173837"/>
            <a:ext cx="389302" cy="3174"/>
          </a:xfrm>
          <a:prstGeom prst="straightConnector1">
            <a:avLst/>
          </a:prstGeom>
          <a:ln w="47625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Arrow: Up-Down 235">
            <a:extLst>
              <a:ext uri="{FF2B5EF4-FFF2-40B4-BE49-F238E27FC236}">
                <a16:creationId xmlns:a16="http://schemas.microsoft.com/office/drawing/2014/main" id="{3D8E184C-AFDE-4D45-9D51-F01DDCD28535}"/>
              </a:ext>
            </a:extLst>
          </p:cNvPr>
          <p:cNvSpPr/>
          <p:nvPr/>
        </p:nvSpPr>
        <p:spPr>
          <a:xfrm>
            <a:off x="9250312" y="848457"/>
            <a:ext cx="115773" cy="206330"/>
          </a:xfrm>
          <a:prstGeom prst="upDown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5CC2C0DC-1722-463F-8B6D-F91E17C27742}"/>
              </a:ext>
            </a:extLst>
          </p:cNvPr>
          <p:cNvCxnSpPr/>
          <p:nvPr/>
        </p:nvCxnSpPr>
        <p:spPr>
          <a:xfrm>
            <a:off x="5791200" y="5765074"/>
            <a:ext cx="67926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2">
            <a:extLst>
              <a:ext uri="{FF2B5EF4-FFF2-40B4-BE49-F238E27FC236}">
                <a16:creationId xmlns:a16="http://schemas.microsoft.com/office/drawing/2014/main" id="{3E2DC39C-B384-41F5-B274-D5040D1A1BF8}"/>
              </a:ext>
            </a:extLst>
          </p:cNvPr>
          <p:cNvSpPr txBox="1">
            <a:spLocks/>
          </p:cNvSpPr>
          <p:nvPr/>
        </p:nvSpPr>
        <p:spPr>
          <a:xfrm>
            <a:off x="2176061" y="4337"/>
            <a:ext cx="8509354" cy="692150"/>
          </a:xfrm>
          <a:prstGeom prst="rect">
            <a:avLst/>
          </a:prstGeom>
        </p:spPr>
        <p:txBody>
          <a:bodyPr anchor="t"/>
          <a:lstStyle>
            <a:lvl1pPr algn="ctr" defTabSz="543505" rtl="0" eaLnBrk="1" latinLnBrk="0" hangingPunct="1">
              <a:spcBef>
                <a:spcPct val="0"/>
              </a:spcBef>
              <a:buNone/>
              <a:defRPr sz="2999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marL="0" marR="0" lvl="0" indent="0" defTabSz="5435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EBE49"/>
                </a:solidFill>
                <a:latin typeface="Arial"/>
              </a:rPr>
              <a:t>Enclosure SSD Configuration For Metadat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EBE49"/>
              </a:solidFill>
              <a:effectLst/>
              <a:uLnTx/>
              <a:uFillTx/>
              <a:latin typeface="Arial"/>
              <a:ea typeface="+mj-e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63DA23-7B21-4615-BCB0-07ACEF7C2234}"/>
              </a:ext>
            </a:extLst>
          </p:cNvPr>
          <p:cNvSpPr/>
          <p:nvPr/>
        </p:nvSpPr>
        <p:spPr>
          <a:xfrm>
            <a:off x="160256" y="3063709"/>
            <a:ext cx="11849492" cy="182595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closure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E5B48F7-4289-47EA-B08B-27ABADC225FA}"/>
              </a:ext>
            </a:extLst>
          </p:cNvPr>
          <p:cNvSpPr/>
          <p:nvPr/>
        </p:nvSpPr>
        <p:spPr>
          <a:xfrm>
            <a:off x="160256" y="855363"/>
            <a:ext cx="11792931" cy="1378785"/>
          </a:xfrm>
          <a:prstGeom prst="rect">
            <a:avLst/>
          </a:prstGeom>
          <a:noFill/>
          <a:ln w="158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er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9684379-6B3D-4F95-B974-ED745BE34456}"/>
              </a:ext>
            </a:extLst>
          </p:cNvPr>
          <p:cNvGrpSpPr/>
          <p:nvPr/>
        </p:nvGrpSpPr>
        <p:grpSpPr>
          <a:xfrm>
            <a:off x="320226" y="1305212"/>
            <a:ext cx="5385654" cy="830288"/>
            <a:chOff x="2957068" y="3033444"/>
            <a:chExt cx="2348132" cy="670178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A688B1E-D41E-4C66-B6BA-5978A92CC7FA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1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3D704BF-011A-4D14-9F94-4EB4C24CDAA1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142" name="Can 8">
                <a:extLst>
                  <a:ext uri="{FF2B5EF4-FFF2-40B4-BE49-F238E27FC236}">
                    <a16:creationId xmlns:a16="http://schemas.microsoft.com/office/drawing/2014/main" id="{C0231BF0-D37A-4769-8CF8-EF666AD767A0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3" name="Can 8">
                <a:extLst>
                  <a:ext uri="{FF2B5EF4-FFF2-40B4-BE49-F238E27FC236}">
                    <a16:creationId xmlns:a16="http://schemas.microsoft.com/office/drawing/2014/main" id="{CFCA3774-CF14-4F0B-9857-FC872F38138B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4" name="Can 8">
                <a:extLst>
                  <a:ext uri="{FF2B5EF4-FFF2-40B4-BE49-F238E27FC236}">
                    <a16:creationId xmlns:a16="http://schemas.microsoft.com/office/drawing/2014/main" id="{3368C70F-9F92-413B-B505-0BAF71E543A4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5" name="Can 8">
                <a:extLst>
                  <a:ext uri="{FF2B5EF4-FFF2-40B4-BE49-F238E27FC236}">
                    <a16:creationId xmlns:a16="http://schemas.microsoft.com/office/drawing/2014/main" id="{FC6759E1-1FDB-4A6E-AF67-BDB2E244A02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7" name="Can 8">
                <a:extLst>
                  <a:ext uri="{FF2B5EF4-FFF2-40B4-BE49-F238E27FC236}">
                    <a16:creationId xmlns:a16="http://schemas.microsoft.com/office/drawing/2014/main" id="{7DED60DB-C532-4402-86B8-288C81CE6511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148" name="Can 8">
                <a:extLst>
                  <a:ext uri="{FF2B5EF4-FFF2-40B4-BE49-F238E27FC236}">
                    <a16:creationId xmlns:a16="http://schemas.microsoft.com/office/drawing/2014/main" id="{9C2BDA2D-FCDB-4837-9A7E-15623A05C3E3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49" name="Can 8">
                <a:extLst>
                  <a:ext uri="{FF2B5EF4-FFF2-40B4-BE49-F238E27FC236}">
                    <a16:creationId xmlns:a16="http://schemas.microsoft.com/office/drawing/2014/main" id="{E7EB2DA0-57F9-4B61-9F43-B27818A95335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151" name="Can 8">
                <a:extLst>
                  <a:ext uri="{FF2B5EF4-FFF2-40B4-BE49-F238E27FC236}">
                    <a16:creationId xmlns:a16="http://schemas.microsoft.com/office/drawing/2014/main" id="{1412172A-F778-4DE3-9F4F-F6DC0BD9D91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r>
                  <a:rPr lang="en-US" sz="1200" b="1" dirty="0"/>
                  <a:t>MD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7382C1A-9008-43D0-ACE3-704FD626CB39}"/>
              </a:ext>
            </a:extLst>
          </p:cNvPr>
          <p:cNvGrpSpPr/>
          <p:nvPr/>
        </p:nvGrpSpPr>
        <p:grpSpPr>
          <a:xfrm>
            <a:off x="316757" y="3245268"/>
            <a:ext cx="5367608" cy="1254914"/>
            <a:chOff x="307330" y="4640440"/>
            <a:chExt cx="5367608" cy="125491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B2876A2-9577-4343-9FD6-A71E67F54EB2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7515105A-95D8-45B1-9D5D-BA692D4C92FE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43" name="Can 8">
                  <a:extLst>
                    <a:ext uri="{FF2B5EF4-FFF2-40B4-BE49-F238E27FC236}">
                      <a16:creationId xmlns:a16="http://schemas.microsoft.com/office/drawing/2014/main" id="{9555A8CE-9A8E-464C-920E-C2687DDED8BB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595D4377-BAAA-4944-96ED-7E59ED25B00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48" name="Can 8">
                  <a:extLst>
                    <a:ext uri="{FF2B5EF4-FFF2-40B4-BE49-F238E27FC236}">
                      <a16:creationId xmlns:a16="http://schemas.microsoft.com/office/drawing/2014/main" id="{E8BF69F3-1FB6-4F31-816F-0F0E38338803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Can 8">
                  <a:extLst>
                    <a:ext uri="{FF2B5EF4-FFF2-40B4-BE49-F238E27FC236}">
                      <a16:creationId xmlns:a16="http://schemas.microsoft.com/office/drawing/2014/main" id="{2FEA4F87-C963-42B9-830C-1255D676A760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Can 8">
                  <a:extLst>
                    <a:ext uri="{FF2B5EF4-FFF2-40B4-BE49-F238E27FC236}">
                      <a16:creationId xmlns:a16="http://schemas.microsoft.com/office/drawing/2014/main" id="{885FBD9D-AE7C-4A5F-9303-6EA6F9D8CF54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Can 8">
                  <a:extLst>
                    <a:ext uri="{FF2B5EF4-FFF2-40B4-BE49-F238E27FC236}">
                      <a16:creationId xmlns:a16="http://schemas.microsoft.com/office/drawing/2014/main" id="{D40B3D97-A66A-4574-8A19-4F49F4B062A4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BF1872BC-C131-43EE-8F1B-9B8250A39B28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EABB38E-534D-42D6-99C9-E87229551C24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9D6B765-6A54-4F9F-A388-DC47090813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162" name="Picture 161">
                <a:extLst>
                  <a:ext uri="{FF2B5EF4-FFF2-40B4-BE49-F238E27FC236}">
                    <a16:creationId xmlns:a16="http://schemas.microsoft.com/office/drawing/2014/main" id="{68094A79-9FD3-4421-AE70-FDF362E2E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5F55F77-B307-43D0-8879-57D335BB6B6B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C20363FD-D246-443D-A7A8-A61ED4F23233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798776E9-6C6C-4700-B9CE-9A64BA01B27E}"/>
              </a:ext>
            </a:extLst>
          </p:cNvPr>
          <p:cNvGrpSpPr/>
          <p:nvPr/>
        </p:nvGrpSpPr>
        <p:grpSpPr>
          <a:xfrm>
            <a:off x="6411509" y="1306780"/>
            <a:ext cx="5385654" cy="830288"/>
            <a:chOff x="2957068" y="3033444"/>
            <a:chExt cx="2348132" cy="670178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CE711C99-DFFC-4AAE-9F7C-3F43D615CDC5}"/>
                </a:ext>
              </a:extLst>
            </p:cNvPr>
            <p:cNvSpPr/>
            <p:nvPr/>
          </p:nvSpPr>
          <p:spPr>
            <a:xfrm>
              <a:off x="2957068" y="3033444"/>
              <a:ext cx="2348132" cy="670178"/>
            </a:xfrm>
            <a:prstGeom prst="rect">
              <a:avLst/>
            </a:prstGeom>
            <a:noFill/>
            <a:ln>
              <a:solidFill>
                <a:srgbClr val="6699FF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ume – DG2</a:t>
              </a: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68EBCCB4-87A4-4F43-AC3F-F68418C04B8E}"/>
                </a:ext>
              </a:extLst>
            </p:cNvPr>
            <p:cNvGrpSpPr/>
            <p:nvPr/>
          </p:nvGrpSpPr>
          <p:grpSpPr>
            <a:xfrm>
              <a:off x="3038208" y="3213676"/>
              <a:ext cx="2165173" cy="399970"/>
              <a:chOff x="3029499" y="3405274"/>
              <a:chExt cx="2165173" cy="399970"/>
            </a:xfrm>
          </p:grpSpPr>
          <p:sp>
            <p:nvSpPr>
              <p:cNvPr id="256" name="Can 8">
                <a:extLst>
                  <a:ext uri="{FF2B5EF4-FFF2-40B4-BE49-F238E27FC236}">
                    <a16:creationId xmlns:a16="http://schemas.microsoft.com/office/drawing/2014/main" id="{52E10E98-C316-4576-A032-D3C37150ECEC}"/>
                  </a:ext>
                </a:extLst>
              </p:cNvPr>
              <p:cNvSpPr/>
              <p:nvPr/>
            </p:nvSpPr>
            <p:spPr>
              <a:xfrm>
                <a:off x="3029499" y="340527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7" name="Can 8">
                <a:extLst>
                  <a:ext uri="{FF2B5EF4-FFF2-40B4-BE49-F238E27FC236}">
                    <a16:creationId xmlns:a16="http://schemas.microsoft.com/office/drawing/2014/main" id="{6FE71F81-11FD-42ED-A9C0-CEC5DBA3EAB1}"/>
                  </a:ext>
                </a:extLst>
              </p:cNvPr>
              <p:cNvSpPr/>
              <p:nvPr/>
            </p:nvSpPr>
            <p:spPr>
              <a:xfrm>
                <a:off x="3314301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8" name="Can 8">
                <a:extLst>
                  <a:ext uri="{FF2B5EF4-FFF2-40B4-BE49-F238E27FC236}">
                    <a16:creationId xmlns:a16="http://schemas.microsoft.com/office/drawing/2014/main" id="{8598FB3B-1ACA-45A9-A8DE-131A75FBD36D}"/>
                  </a:ext>
                </a:extLst>
              </p:cNvPr>
              <p:cNvSpPr/>
              <p:nvPr/>
            </p:nvSpPr>
            <p:spPr>
              <a:xfrm>
                <a:off x="3595829" y="3412613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59" name="Can 8">
                <a:extLst>
                  <a:ext uri="{FF2B5EF4-FFF2-40B4-BE49-F238E27FC236}">
                    <a16:creationId xmlns:a16="http://schemas.microsoft.com/office/drawing/2014/main" id="{D42CD648-C588-4EDF-9826-8F04DDB6BD11}"/>
                  </a:ext>
                </a:extLst>
              </p:cNvPr>
              <p:cNvSpPr/>
              <p:nvPr/>
            </p:nvSpPr>
            <p:spPr>
              <a:xfrm>
                <a:off x="3880630" y="341995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0" name="Can 8">
                <a:extLst>
                  <a:ext uri="{FF2B5EF4-FFF2-40B4-BE49-F238E27FC236}">
                    <a16:creationId xmlns:a16="http://schemas.microsoft.com/office/drawing/2014/main" id="{8E24A6D5-D2F1-4861-9462-7D98299650FC}"/>
                  </a:ext>
                </a:extLst>
              </p:cNvPr>
              <p:cNvSpPr/>
              <p:nvPr/>
            </p:nvSpPr>
            <p:spPr>
              <a:xfrm>
                <a:off x="4149061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 dirty="0"/>
              </a:p>
            </p:txBody>
          </p:sp>
          <p:sp>
            <p:nvSpPr>
              <p:cNvPr id="261" name="Can 8">
                <a:extLst>
                  <a:ext uri="{FF2B5EF4-FFF2-40B4-BE49-F238E27FC236}">
                    <a16:creationId xmlns:a16="http://schemas.microsoft.com/office/drawing/2014/main" id="{8D41FC4C-BD3B-4B67-BD1A-C3661515980D}"/>
                  </a:ext>
                </a:extLst>
              </p:cNvPr>
              <p:cNvSpPr/>
              <p:nvPr/>
            </p:nvSpPr>
            <p:spPr>
              <a:xfrm>
                <a:off x="4430589" y="3434642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2" name="Can 8">
                <a:extLst>
                  <a:ext uri="{FF2B5EF4-FFF2-40B4-BE49-F238E27FC236}">
                    <a16:creationId xmlns:a16="http://schemas.microsoft.com/office/drawing/2014/main" id="{23D0CEF8-BEAF-4AB2-A2F4-02F91C82D83A}"/>
                  </a:ext>
                </a:extLst>
              </p:cNvPr>
              <p:cNvSpPr/>
              <p:nvPr/>
            </p:nvSpPr>
            <p:spPr>
              <a:xfrm>
                <a:off x="4713619" y="3438994"/>
                <a:ext cx="198024" cy="366250"/>
              </a:xfrm>
              <a:prstGeom prst="can">
                <a:avLst/>
              </a:prstGeom>
              <a:solidFill>
                <a:srgbClr val="6699FF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  <p:sp>
            <p:nvSpPr>
              <p:cNvPr id="263" name="Can 8">
                <a:extLst>
                  <a:ext uri="{FF2B5EF4-FFF2-40B4-BE49-F238E27FC236}">
                    <a16:creationId xmlns:a16="http://schemas.microsoft.com/office/drawing/2014/main" id="{7100FB84-299E-407C-9C9D-D2E7B9CB3322}"/>
                  </a:ext>
                </a:extLst>
              </p:cNvPr>
              <p:cNvSpPr/>
              <p:nvPr/>
            </p:nvSpPr>
            <p:spPr>
              <a:xfrm>
                <a:off x="4996648" y="3434639"/>
                <a:ext cx="198024" cy="366250"/>
              </a:xfrm>
              <a:prstGeom prst="can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1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" name="Left Brace 17">
            <a:extLst>
              <a:ext uri="{FF2B5EF4-FFF2-40B4-BE49-F238E27FC236}">
                <a16:creationId xmlns:a16="http://schemas.microsoft.com/office/drawing/2014/main" id="{83B6338E-8638-42DA-9011-B8F93B99A70B}"/>
              </a:ext>
            </a:extLst>
          </p:cNvPr>
          <p:cNvSpPr/>
          <p:nvPr/>
        </p:nvSpPr>
        <p:spPr>
          <a:xfrm rot="5400000">
            <a:off x="2871753" y="195390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770AB5-FE11-476F-9DBA-DEE8A4E021EA}"/>
              </a:ext>
            </a:extLst>
          </p:cNvPr>
          <p:cNvCxnSpPr>
            <a:stCxn id="140" idx="2"/>
            <a:endCxn id="18" idx="1"/>
          </p:cNvCxnSpPr>
          <p:nvPr/>
        </p:nvCxnSpPr>
        <p:spPr>
          <a:xfrm>
            <a:off x="3013053" y="2135500"/>
            <a:ext cx="4481" cy="59036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B8B24BBB-BFA0-4AF0-8925-504B3673C7AE}"/>
              </a:ext>
            </a:extLst>
          </p:cNvPr>
          <p:cNvCxnSpPr>
            <a:cxnSpLocks/>
            <a:stCxn id="151" idx="3"/>
            <a:endCxn id="164" idx="0"/>
          </p:cNvCxnSpPr>
          <p:nvPr/>
        </p:nvCxnSpPr>
        <p:spPr>
          <a:xfrm rot="5400000">
            <a:off x="2541776" y="541788"/>
            <a:ext cx="1226634" cy="4180327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BD7B9-5964-4692-99C8-60847D12EE36}"/>
              </a:ext>
            </a:extLst>
          </p:cNvPr>
          <p:cNvSpPr txBox="1"/>
          <p:nvPr/>
        </p:nvSpPr>
        <p:spPr>
          <a:xfrm>
            <a:off x="201950" y="4994283"/>
            <a:ext cx="5378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deally SSD Capacity &gt;= Metadata Volume Size / 2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F983787-DA07-4448-85EF-33246E64330C}"/>
              </a:ext>
            </a:extLst>
          </p:cNvPr>
          <p:cNvSpPr txBox="1"/>
          <p:nvPr/>
        </p:nvSpPr>
        <p:spPr>
          <a:xfrm>
            <a:off x="297791" y="2318654"/>
            <a:ext cx="2245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rformance Affinity</a:t>
            </a:r>
          </a:p>
        </p:txBody>
      </p:sp>
      <p:sp>
        <p:nvSpPr>
          <p:cNvPr id="265" name="Left Brace 264">
            <a:extLst>
              <a:ext uri="{FF2B5EF4-FFF2-40B4-BE49-F238E27FC236}">
                <a16:creationId xmlns:a16="http://schemas.microsoft.com/office/drawing/2014/main" id="{1408A377-E7E6-42FE-896E-F73721FE9F52}"/>
              </a:ext>
            </a:extLst>
          </p:cNvPr>
          <p:cNvSpPr/>
          <p:nvPr/>
        </p:nvSpPr>
        <p:spPr>
          <a:xfrm rot="5400000">
            <a:off x="8963040" y="159254"/>
            <a:ext cx="291563" cy="5352513"/>
          </a:xfrm>
          <a:prstGeom prst="leftBrac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5B646D51-3EF0-4285-B1D9-AF1C0FC61679}"/>
              </a:ext>
            </a:extLst>
          </p:cNvPr>
          <p:cNvCxnSpPr>
            <a:cxnSpLocks/>
            <a:stCxn id="254" idx="2"/>
            <a:endCxn id="265" idx="1"/>
          </p:cNvCxnSpPr>
          <p:nvPr/>
        </p:nvCxnSpPr>
        <p:spPr>
          <a:xfrm>
            <a:off x="9104336" y="2137068"/>
            <a:ext cx="4485" cy="55266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Connector: Elbow 266">
            <a:extLst>
              <a:ext uri="{FF2B5EF4-FFF2-40B4-BE49-F238E27FC236}">
                <a16:creationId xmlns:a16="http://schemas.microsoft.com/office/drawing/2014/main" id="{A57EC6AB-18E1-4944-B814-93E213C13D78}"/>
              </a:ext>
            </a:extLst>
          </p:cNvPr>
          <p:cNvCxnSpPr>
            <a:cxnSpLocks/>
            <a:stCxn id="263" idx="3"/>
            <a:endCxn id="275" idx="0"/>
          </p:cNvCxnSpPr>
          <p:nvPr/>
        </p:nvCxnSpPr>
        <p:spPr>
          <a:xfrm rot="5400000">
            <a:off x="8628346" y="576351"/>
            <a:ext cx="1264342" cy="4152044"/>
          </a:xfrm>
          <a:prstGeom prst="bentConnector3">
            <a:avLst>
              <a:gd name="adj1" fmla="val 50000"/>
            </a:avLst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ADBE3EB4-4256-49CF-A588-A1EF1EAEB50A}"/>
              </a:ext>
            </a:extLst>
          </p:cNvPr>
          <p:cNvSpPr txBox="1"/>
          <p:nvPr/>
        </p:nvSpPr>
        <p:spPr>
          <a:xfrm>
            <a:off x="6379652" y="2310798"/>
            <a:ext cx="872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ffinity</a:t>
            </a:r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128A7D89-77F7-4B11-ACAD-0F4071B41099}"/>
              </a:ext>
            </a:extLst>
          </p:cNvPr>
          <p:cNvGrpSpPr/>
          <p:nvPr/>
        </p:nvGrpSpPr>
        <p:grpSpPr>
          <a:xfrm>
            <a:off x="6436323" y="3284544"/>
            <a:ext cx="5367608" cy="1254914"/>
            <a:chOff x="307330" y="4640440"/>
            <a:chExt cx="5367608" cy="1254914"/>
          </a:xfrm>
        </p:grpSpPr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F04E201E-FFAC-4A82-9BC6-270DF5587AFC}"/>
                </a:ext>
              </a:extLst>
            </p:cNvPr>
            <p:cNvGrpSpPr/>
            <p:nvPr/>
          </p:nvGrpSpPr>
          <p:grpSpPr>
            <a:xfrm>
              <a:off x="1892608" y="4648294"/>
              <a:ext cx="3782330" cy="1092636"/>
              <a:chOff x="647499" y="5147916"/>
              <a:chExt cx="4814656" cy="1092636"/>
            </a:xfrm>
          </p:grpSpPr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E0E7BAF3-F7E6-45BE-A32F-E1FC7FB3AF45}"/>
                  </a:ext>
                </a:extLst>
              </p:cNvPr>
              <p:cNvGrpSpPr/>
              <p:nvPr/>
            </p:nvGrpSpPr>
            <p:grpSpPr>
              <a:xfrm>
                <a:off x="647499" y="5147916"/>
                <a:ext cx="4814656" cy="1092636"/>
                <a:chOff x="806596" y="4861162"/>
                <a:chExt cx="2142400" cy="1092636"/>
              </a:xfrm>
            </p:grpSpPr>
            <p:sp>
              <p:nvSpPr>
                <p:cNvPr id="278" name="Can 8">
                  <a:extLst>
                    <a:ext uri="{FF2B5EF4-FFF2-40B4-BE49-F238E27FC236}">
                      <a16:creationId xmlns:a16="http://schemas.microsoft.com/office/drawing/2014/main" id="{B5507D90-81E1-4339-A141-6703BB2C3A16}"/>
                    </a:ext>
                  </a:extLst>
                </p:cNvPr>
                <p:cNvSpPr/>
                <p:nvPr/>
              </p:nvSpPr>
              <p:spPr>
                <a:xfrm>
                  <a:off x="853628" y="51004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Rectangle 278">
                  <a:extLst>
                    <a:ext uri="{FF2B5EF4-FFF2-40B4-BE49-F238E27FC236}">
                      <a16:creationId xmlns:a16="http://schemas.microsoft.com/office/drawing/2014/main" id="{8F1BC843-00FC-465A-9A5D-16AF458AA7CC}"/>
                    </a:ext>
                  </a:extLst>
                </p:cNvPr>
                <p:cNvSpPr/>
                <p:nvPr/>
              </p:nvSpPr>
              <p:spPr>
                <a:xfrm>
                  <a:off x="806596" y="4861162"/>
                  <a:ext cx="2142400" cy="1092636"/>
                </a:xfrm>
                <a:prstGeom prst="rect">
                  <a:avLst/>
                </a:prstGeom>
                <a:noFill/>
                <a:ln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 anchorCtr="1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Disk Group 1 (DG1) : Standard</a:t>
                  </a:r>
                </a:p>
              </p:txBody>
            </p:sp>
            <p:sp>
              <p:nvSpPr>
                <p:cNvPr id="280" name="Can 8">
                  <a:extLst>
                    <a:ext uri="{FF2B5EF4-FFF2-40B4-BE49-F238E27FC236}">
                      <a16:creationId xmlns:a16="http://schemas.microsoft.com/office/drawing/2014/main" id="{6A5836B4-53F4-4E44-BEAB-5D5C57D4E416}"/>
                    </a:ext>
                  </a:extLst>
                </p:cNvPr>
                <p:cNvSpPr/>
                <p:nvPr/>
              </p:nvSpPr>
              <p:spPr>
                <a:xfrm>
                  <a:off x="123245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Can 8">
                  <a:extLst>
                    <a:ext uri="{FF2B5EF4-FFF2-40B4-BE49-F238E27FC236}">
                      <a16:creationId xmlns:a16="http://schemas.microsoft.com/office/drawing/2014/main" id="{28D63459-42F3-48A8-98B6-E74936AB0354}"/>
                    </a:ext>
                  </a:extLst>
                </p:cNvPr>
                <p:cNvSpPr/>
                <p:nvPr/>
              </p:nvSpPr>
              <p:spPr>
                <a:xfrm>
                  <a:off x="1606924" y="510477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2" name="Can 8">
                  <a:extLst>
                    <a:ext uri="{FF2B5EF4-FFF2-40B4-BE49-F238E27FC236}">
                      <a16:creationId xmlns:a16="http://schemas.microsoft.com/office/drawing/2014/main" id="{D3551167-CCFD-4ED8-A728-0A333F82FA6B}"/>
                    </a:ext>
                  </a:extLst>
                </p:cNvPr>
                <p:cNvSpPr/>
                <p:nvPr/>
              </p:nvSpPr>
              <p:spPr>
                <a:xfrm>
                  <a:off x="1985748" y="5109122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Can 8">
                  <a:extLst>
                    <a:ext uri="{FF2B5EF4-FFF2-40B4-BE49-F238E27FC236}">
                      <a16:creationId xmlns:a16="http://schemas.microsoft.com/office/drawing/2014/main" id="{3AF0477D-AFEB-42F5-96C8-A9590E13258F}"/>
                    </a:ext>
                  </a:extLst>
                </p:cNvPr>
                <p:cNvSpPr/>
                <p:nvPr/>
              </p:nvSpPr>
              <p:spPr>
                <a:xfrm>
                  <a:off x="2661052" y="5070694"/>
                  <a:ext cx="242519" cy="572010"/>
                </a:xfrm>
                <a:prstGeom prst="can">
                  <a:avLst/>
                </a:prstGeom>
                <a:solidFill>
                  <a:schemeClr val="accent4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2EC18F77-288D-444A-BA8C-0E4A3A8EA33E}"/>
                  </a:ext>
                </a:extLst>
              </p:cNvPr>
              <p:cNvCxnSpPr/>
              <p:nvPr/>
            </p:nvCxnSpPr>
            <p:spPr>
              <a:xfrm>
                <a:off x="3976535" y="5701889"/>
                <a:ext cx="622169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DD0720B6-E690-4FFE-A155-3B28CB99B2C0}"/>
                </a:ext>
              </a:extLst>
            </p:cNvPr>
            <p:cNvGrpSpPr/>
            <p:nvPr/>
          </p:nvGrpSpPr>
          <p:grpSpPr>
            <a:xfrm>
              <a:off x="307330" y="4640440"/>
              <a:ext cx="1496343" cy="1254914"/>
              <a:chOff x="241341" y="4621586"/>
              <a:chExt cx="1496343" cy="1254914"/>
            </a:xfrm>
          </p:grpSpPr>
          <p:pic>
            <p:nvPicPr>
              <p:cNvPr id="272" name="Picture 271">
                <a:extLst>
                  <a:ext uri="{FF2B5EF4-FFF2-40B4-BE49-F238E27FC236}">
                    <a16:creationId xmlns:a16="http://schemas.microsoft.com/office/drawing/2014/main" id="{047BE06C-04A2-4A4A-9201-0927E26E5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7701" y="4757987"/>
                <a:ext cx="503004" cy="696018"/>
              </a:xfrm>
              <a:prstGeom prst="rect">
                <a:avLst/>
              </a:prstGeom>
            </p:spPr>
          </p:pic>
          <p:pic>
            <p:nvPicPr>
              <p:cNvPr id="273" name="Picture 272">
                <a:extLst>
                  <a:ext uri="{FF2B5EF4-FFF2-40B4-BE49-F238E27FC236}">
                    <a16:creationId xmlns:a16="http://schemas.microsoft.com/office/drawing/2014/main" id="{213CCA3A-F951-4D54-95FA-5E4F77EA82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38830" y="4768984"/>
                <a:ext cx="503004" cy="696018"/>
              </a:xfrm>
              <a:prstGeom prst="rect">
                <a:avLst/>
              </a:prstGeom>
            </p:spPr>
          </p:pic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A4F57CBF-D6D7-4115-A26E-5D46241D0A43}"/>
                  </a:ext>
                </a:extLst>
              </p:cNvPr>
              <p:cNvCxnSpPr/>
              <p:nvPr/>
            </p:nvCxnSpPr>
            <p:spPr>
              <a:xfrm>
                <a:off x="831345" y="5118994"/>
                <a:ext cx="303486" cy="0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Rectangle 274">
                <a:extLst>
                  <a:ext uri="{FF2B5EF4-FFF2-40B4-BE49-F238E27FC236}">
                    <a16:creationId xmlns:a16="http://schemas.microsoft.com/office/drawing/2014/main" id="{FABD7695-A7C7-496F-B312-50ABFD78E114}"/>
                  </a:ext>
                </a:extLst>
              </p:cNvPr>
              <p:cNvSpPr/>
              <p:nvPr/>
            </p:nvSpPr>
            <p:spPr>
              <a:xfrm>
                <a:off x="241341" y="4621586"/>
                <a:ext cx="1496343" cy="1254914"/>
              </a:xfrm>
              <a:prstGeom prst="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k Group 1 (DG1) : Performan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77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1_Seagate_Template_2017">
  <a:themeElements>
    <a:clrScheme name="New Seagate Theme 2">
      <a:dk1>
        <a:srgbClr val="000000"/>
      </a:dk1>
      <a:lt1>
        <a:srgbClr val="FFFFFF"/>
      </a:lt1>
      <a:dk2>
        <a:srgbClr val="78777A"/>
      </a:dk2>
      <a:lt2>
        <a:srgbClr val="FFFFFF"/>
      </a:lt2>
      <a:accent1>
        <a:srgbClr val="6EBE49"/>
      </a:accent1>
      <a:accent2>
        <a:srgbClr val="868589"/>
      </a:accent2>
      <a:accent3>
        <a:srgbClr val="000000"/>
      </a:accent3>
      <a:accent4>
        <a:srgbClr val="F8BE15"/>
      </a:accent4>
      <a:accent5>
        <a:srgbClr val="00A1DD"/>
      </a:accent5>
      <a:accent6>
        <a:srgbClr val="008F98"/>
      </a:accent6>
      <a:hlink>
        <a:srgbClr val="6EBE4A"/>
      </a:hlink>
      <a:folHlink>
        <a:srgbClr val="86858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3.xml><?xml version="1.0" encoding="utf-8"?>
<a:theme xmlns:a="http://schemas.openxmlformats.org/drawingml/2006/main" name="Internal with Page numb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4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5.xml><?xml version="1.0" encoding="utf-8"?>
<a:theme xmlns:a="http://schemas.openxmlformats.org/drawingml/2006/main" name="Master">
  <a:themeElements>
    <a:clrScheme name="Seagate">
      <a:dk1>
        <a:srgbClr val="000000"/>
      </a:dk1>
      <a:lt1>
        <a:srgbClr val="FFFFFF"/>
      </a:lt1>
      <a:dk2>
        <a:srgbClr val="D4D4D4"/>
      </a:dk2>
      <a:lt2>
        <a:srgbClr val="58C619"/>
      </a:lt2>
      <a:accent1>
        <a:srgbClr val="155C0E"/>
      </a:accent1>
      <a:accent2>
        <a:srgbClr val="16800A"/>
      </a:accent2>
      <a:accent3>
        <a:srgbClr val="399F18"/>
      </a:accent3>
      <a:accent4>
        <a:srgbClr val="58C619"/>
      </a:accent4>
      <a:accent5>
        <a:srgbClr val="7CD73E"/>
      </a:accent5>
      <a:accent6>
        <a:srgbClr val="C7C7C7"/>
      </a:accent6>
      <a:hlink>
        <a:srgbClr val="399F18"/>
      </a:hlink>
      <a:folHlink>
        <a:srgbClr val="7CD73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eagate_2019_Template_JG" id="{D7FC8DCE-93B7-5441-86D7-AE3B0988B3C2}" vid="{4EAC052A-77C9-1042-8CF2-67237DF1B9C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104BC548CBC64288D8C702F05F8484" ma:contentTypeVersion="" ma:contentTypeDescription="Create a new document." ma:contentTypeScope="" ma:versionID="5fce39971f742b15a49664c532220197">
  <xsd:schema xmlns:xsd="http://www.w3.org/2001/XMLSchema" xmlns:xs="http://www.w3.org/2001/XMLSchema" xmlns:p="http://schemas.microsoft.com/office/2006/metadata/properties" xmlns:ns2="7d5b1f3f-e1a2-4051-b3ff-61befe3e5706" xmlns:ns3="e03414f7-9e45-4237-93c4-78fc1700a097" targetNamespace="http://schemas.microsoft.com/office/2006/metadata/properties" ma:root="true" ma:fieldsID="ef1ebf6fc92da47388df519b3f3286fb" ns2:_="" ns3:_="">
    <xsd:import namespace="7d5b1f3f-e1a2-4051-b3ff-61befe3e5706"/>
    <xsd:import namespace="e03414f7-9e45-4237-93c4-78fc1700a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Resource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b1f3f-e1a2-4051-b3ff-61befe3e57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3414f7-9e45-4237-93c4-78fc1700a097" elementFormDefault="qualified">
    <xsd:import namespace="http://schemas.microsoft.com/office/2006/documentManagement/types"/>
    <xsd:import namespace="http://schemas.microsoft.com/office/infopath/2007/PartnerControls"/>
    <xsd:element name="ResourceId" ma:index="10" nillable="true" ma:displayName="ResourceId" ma:indexed="true" ma:internalName="ResourceId">
      <xsd:simpleType>
        <xsd:restriction base="dms:Text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5b1f3f-e1a2-4051-b3ff-61befe3e5706">
      <UserInfo>
        <DisplayName>CORTX SME Members</DisplayName>
        <AccountId>20809</AccountId>
        <AccountType/>
      </UserInfo>
      <UserInfo>
        <DisplayName>Ken Claffey</DisplayName>
        <AccountId>660</AccountId>
        <AccountType/>
      </UserInfo>
      <UserInfo>
        <DisplayName>John Callender</DisplayName>
        <AccountId>1891</AccountId>
        <AccountType/>
      </UserInfo>
    </SharedWithUsers>
    <ResourceId xmlns="e03414f7-9e45-4237-93c4-78fc1700a097" xsi:nil="true"/>
  </documentManagement>
</p:properties>
</file>

<file path=customXml/itemProps1.xml><?xml version="1.0" encoding="utf-8"?>
<ds:datastoreItem xmlns:ds="http://schemas.openxmlformats.org/officeDocument/2006/customXml" ds:itemID="{7F291D47-0E7B-4CA0-91E7-E276214E13E8}">
  <ds:schemaRefs>
    <ds:schemaRef ds:uri="7d5b1f3f-e1a2-4051-b3ff-61befe3e5706"/>
    <ds:schemaRef ds:uri="e03414f7-9e45-4237-93c4-78fc1700a0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32DF934-28EC-4FD9-AB14-B7F1769B6F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ACDCE7-50C5-47B0-882D-D801FB819EF4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e03414f7-9e45-4237-93c4-78fc1700a097"/>
    <ds:schemaRef ds:uri="7d5b1f3f-e1a2-4051-b3ff-61befe3e570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15</TotalTime>
  <Words>305</Words>
  <Application>Microsoft Office PowerPoint</Application>
  <PresentationFormat>Widescreen</PresentationFormat>
  <Paragraphs>11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8" baseType="lpstr">
      <vt:lpstr>Arial</vt:lpstr>
      <vt:lpstr>Calibri</vt:lpstr>
      <vt:lpstr>Comic Sans MS</vt:lpstr>
      <vt:lpstr>Flaticon</vt:lpstr>
      <vt:lpstr>Helvetica Neue LT Std 45 Light</vt:lpstr>
      <vt:lpstr>Helvetica Neue LT Std 55 Roman</vt:lpstr>
      <vt:lpstr>Helvetica Neue LT Std 75</vt:lpstr>
      <vt:lpstr>HelveticaNeueLT Std Ext</vt:lpstr>
      <vt:lpstr>Lato</vt:lpstr>
      <vt:lpstr>Merriweather Sans</vt:lpstr>
      <vt:lpstr>Noto Sans Symbols</vt:lpstr>
      <vt:lpstr>Noto Symbol</vt:lpstr>
      <vt:lpstr>Open Sans</vt:lpstr>
      <vt:lpstr>Open Sans Light</vt:lpstr>
      <vt:lpstr>Questrial</vt:lpstr>
      <vt:lpstr>Segoe UI</vt:lpstr>
      <vt:lpstr>Times New Roman</vt:lpstr>
      <vt:lpstr>Wingdings</vt:lpstr>
      <vt:lpstr>1_Seagate_Template_2017</vt:lpstr>
      <vt:lpstr>Internal Spreads</vt:lpstr>
      <vt:lpstr>Internal with Page number</vt:lpstr>
      <vt:lpstr>1_Internal Spreads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S Architecture  (Requi)</dc:title>
  <dc:creator/>
  <cp:lastModifiedBy>Shankar Tukaram More</cp:lastModifiedBy>
  <cp:revision>72</cp:revision>
  <dcterms:created xsi:type="dcterms:W3CDTF">2020-03-11T05:48:11Z</dcterms:created>
  <dcterms:modified xsi:type="dcterms:W3CDTF">2020-12-16T18:2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104BC548CBC64288D8C702F05F8484</vt:lpwstr>
  </property>
  <property fmtid="{D5CDD505-2E9C-101B-9397-08002B2CF9AE}" pid="3" name="_SourceUrl">
    <vt:lpwstr/>
  </property>
  <property fmtid="{D5CDD505-2E9C-101B-9397-08002B2CF9AE}" pid="4" name="_SharedFileIndex">
    <vt:lpwstr/>
  </property>
  <property fmtid="{D5CDD505-2E9C-101B-9397-08002B2CF9AE}" pid="5" name="ComplianceAssetId">
    <vt:lpwstr/>
  </property>
  <property fmtid="{D5CDD505-2E9C-101B-9397-08002B2CF9AE}" pid="6" name="SharedWithUsers">
    <vt:lpwstr>7104;#Pranay Kumar;#7103;#Ajay Srivastava;#16656;#Amit Kapil;#1043;#Chetan Subhash Deshmukh;#20809;#CORTX SME Members;#6961;#BK Singh;#662;#Mohamad El-Batal;#6962;#Ujjwal Lanjewar;#7041;#Tony Tian</vt:lpwstr>
  </property>
</Properties>
</file>